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</p:sldMasterIdLst>
  <p:notesMasterIdLst>
    <p:notesMasterId r:id="rId9"/>
  </p:notesMasterIdLst>
  <p:sldIdLst>
    <p:sldId id="264" r:id="rId3"/>
    <p:sldId id="265" r:id="rId4"/>
    <p:sldId id="260" r:id="rId5"/>
    <p:sldId id="267" r:id="rId6"/>
    <p:sldId id="268" r:id="rId7"/>
    <p:sldId id="266" r:id="rId8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75" userDrawn="1">
          <p15:clr>
            <a:srgbClr val="A4A3A4"/>
          </p15:clr>
        </p15:guide>
        <p15:guide id="2" pos="302" userDrawn="1">
          <p15:clr>
            <a:srgbClr val="A4A3A4"/>
          </p15:clr>
        </p15:guide>
        <p15:guide id="3" pos="402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3F2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4660"/>
  </p:normalViewPr>
  <p:slideViewPr>
    <p:cSldViewPr snapToGrid="0">
      <p:cViewPr>
        <p:scale>
          <a:sx n="50" d="100"/>
          <a:sy n="50" d="100"/>
        </p:scale>
        <p:origin x="1188" y="380"/>
      </p:cViewPr>
      <p:guideLst>
        <p:guide orient="horz" pos="1275"/>
        <p:guide pos="302"/>
        <p:guide pos="402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01178F-EA17-471E-8CB0-2D0C1CABFF0A}" type="datetimeFigureOut">
              <a:rPr lang="fr-FR" smtClean="0"/>
              <a:t>01/02/2022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6D6B00-7B84-42C9-996D-385CAFC829A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739636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8.emf"/><Relationship Id="rId4" Type="http://schemas.openxmlformats.org/officeDocument/2006/relationships/image" Target="../media/image17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smtClean="0"/>
              <a:t>Modifier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F71821-D3E2-4AD3-A16B-D977999DE163}" type="datetimeFigureOut">
              <a:rPr lang="fr-FR" smtClean="0"/>
              <a:t>01/02/202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CBF80E-7D64-48B9-AC2F-C551AC960EB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627354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F71821-D3E2-4AD3-A16B-D977999DE163}" type="datetimeFigureOut">
              <a:rPr lang="fr-FR" smtClean="0"/>
              <a:t>01/02/202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CBF80E-7D64-48B9-AC2F-C551AC960EB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107077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F71821-D3E2-4AD3-A16B-D977999DE163}" type="datetimeFigureOut">
              <a:rPr lang="fr-FR" smtClean="0"/>
              <a:t>01/02/202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CBF80E-7D64-48B9-AC2F-C551AC960EB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83236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A539F7EF-3137-A44A-AF93-D2FC6143FF1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31" t="8741" r="102" b="27"/>
          <a:stretch/>
        </p:blipFill>
        <p:spPr>
          <a:xfrm rot="16200000" flipH="1">
            <a:off x="5690849" y="-1626559"/>
            <a:ext cx="589393" cy="12412910"/>
          </a:xfrm>
          <a:prstGeom prst="rect">
            <a:avLst/>
          </a:prstGeom>
        </p:spPr>
      </p:pic>
      <p:sp>
        <p:nvSpPr>
          <p:cNvPr id="31" name="Title 1">
            <a:extLst>
              <a:ext uri="{FF2B5EF4-FFF2-40B4-BE49-F238E27FC236}">
                <a16:creationId xmlns:a16="http://schemas.microsoft.com/office/drawing/2014/main" id="{F9ADB869-9131-3349-9EC3-2E8B47BA5F8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744134" y="4787816"/>
            <a:ext cx="10176932" cy="594192"/>
          </a:xfrm>
          <a:prstGeom prst="rect">
            <a:avLst/>
          </a:prstGeom>
          <a:noFill/>
        </p:spPr>
        <p:txBody>
          <a:bodyPr lIns="72000" tIns="36000" rIns="72000" bIns="36000" anchor="b">
            <a:noAutofit/>
          </a:bodyPr>
          <a:lstStyle>
            <a:lvl1pPr algn="l">
              <a:defRPr sz="3600" b="1">
                <a:ln>
                  <a:noFill/>
                </a:ln>
                <a:solidFill>
                  <a:schemeClr val="tx2"/>
                </a:solidFill>
                <a:latin typeface="NEXT Pan Book" panose="020B0504020101010102" pitchFamily="34" charset="0"/>
                <a:cs typeface="NEXT Pan Book" panose="020B0504020101010102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5694916B-020C-6B49-B6DB-07868C0F3C7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44134" y="5516417"/>
            <a:ext cx="10176932" cy="480099"/>
          </a:xfrm>
          <a:prstGeom prst="rect">
            <a:avLst/>
          </a:prstGeom>
          <a:noFill/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2800" b="0" i="0">
                <a:ln>
                  <a:noFill/>
                </a:ln>
                <a:solidFill>
                  <a:schemeClr val="tx1"/>
                </a:solidFill>
                <a:latin typeface="NEXT Pan Book Light" panose="020B0404020101010102" pitchFamily="34" charset="0"/>
                <a:cs typeface="NEXT Pan Book Light" panose="020B0404020101010102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smtClean="0"/>
              <a:t>Modifier le style des sous-titres du masque</a:t>
            </a:r>
            <a:endParaRPr lang="en-US"/>
          </a:p>
        </p:txBody>
      </p:sp>
      <p:sp>
        <p:nvSpPr>
          <p:cNvPr id="108" name="Content Placeholder 107">
            <a:extLst>
              <a:ext uri="{FF2B5EF4-FFF2-40B4-BE49-F238E27FC236}">
                <a16:creationId xmlns:a16="http://schemas.microsoft.com/office/drawing/2014/main" id="{62209DD7-9DD2-2F4B-8635-EA26F0AC8277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44134" y="6130926"/>
            <a:ext cx="10176932" cy="4801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800" b="0" i="0" kern="1200" dirty="0" smtClean="0">
                <a:ln>
                  <a:noFill/>
                </a:ln>
                <a:solidFill>
                  <a:schemeClr val="tx1"/>
                </a:solidFill>
                <a:latin typeface="NEXT Pan Book Light" panose="020B0404020101010102" pitchFamily="34" charset="0"/>
                <a:ea typeface="+mn-ea"/>
                <a:cs typeface="NEXT Pan Book Light" panose="020B0404020101010102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date</a:t>
            </a:r>
          </a:p>
          <a:p>
            <a:pPr lvl="0"/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8455283-5D4F-144F-957D-FCFD143DC3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-21707"/>
            <a:ext cx="12192000" cy="446662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D5D69A9-9D36-764F-8046-A6DF8B8A9A8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934" y="4787816"/>
            <a:ext cx="1211013" cy="1823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05882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 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F9ADB869-9131-3349-9EC3-2E8B47BA5F8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744134" y="4787816"/>
            <a:ext cx="10176932" cy="594192"/>
          </a:xfrm>
          <a:prstGeom prst="rect">
            <a:avLst/>
          </a:prstGeom>
          <a:noFill/>
        </p:spPr>
        <p:txBody>
          <a:bodyPr lIns="72000" tIns="36000" rIns="72000" bIns="36000" anchor="b">
            <a:noAutofit/>
          </a:bodyPr>
          <a:lstStyle>
            <a:lvl1pPr algn="l">
              <a:defRPr sz="3600" b="1">
                <a:ln>
                  <a:noFill/>
                </a:ln>
                <a:solidFill>
                  <a:schemeClr val="tx2"/>
                </a:solidFill>
                <a:latin typeface="NEXT Pan Book" panose="020B0504020101010102" pitchFamily="34" charset="0"/>
                <a:cs typeface="NEXT Pan Book" panose="020B0504020101010102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5694916B-020C-6B49-B6DB-07868C0F3C7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44134" y="5516417"/>
            <a:ext cx="10176932" cy="480099"/>
          </a:xfrm>
          <a:prstGeom prst="rect">
            <a:avLst/>
          </a:prstGeom>
          <a:noFill/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2800" b="0" i="0">
                <a:ln>
                  <a:noFill/>
                </a:ln>
                <a:solidFill>
                  <a:schemeClr val="tx1"/>
                </a:solidFill>
                <a:latin typeface="NEXT Pan Book Light" panose="020B0404020101010102" pitchFamily="34" charset="0"/>
                <a:cs typeface="NEXT Pan Book Light" panose="020B0404020101010102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smtClean="0"/>
              <a:t>Modifier le style des sous-titres du masque</a:t>
            </a:r>
            <a:endParaRPr lang="en-US"/>
          </a:p>
        </p:txBody>
      </p:sp>
      <p:sp>
        <p:nvSpPr>
          <p:cNvPr id="108" name="Content Placeholder 107">
            <a:extLst>
              <a:ext uri="{FF2B5EF4-FFF2-40B4-BE49-F238E27FC236}">
                <a16:creationId xmlns:a16="http://schemas.microsoft.com/office/drawing/2014/main" id="{62209DD7-9DD2-2F4B-8635-EA26F0AC8277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44134" y="6130926"/>
            <a:ext cx="10176932" cy="4801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800" b="0" i="0" kern="1200" dirty="0" smtClean="0">
                <a:ln>
                  <a:noFill/>
                </a:ln>
                <a:solidFill>
                  <a:schemeClr val="tx1"/>
                </a:solidFill>
                <a:latin typeface="NEXT Pan Book Light" panose="020B0404020101010102" pitchFamily="34" charset="0"/>
                <a:ea typeface="+mn-ea"/>
                <a:cs typeface="NEXT Pan Book Light" panose="020B0404020101010102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date</a:t>
            </a:r>
          </a:p>
          <a:p>
            <a:pPr lvl="0"/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559E5A1-3CB4-424E-A7B5-6E0CFF0B2C0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31" t="8741" r="102" b="27"/>
          <a:stretch/>
        </p:blipFill>
        <p:spPr>
          <a:xfrm rot="16200000" flipH="1">
            <a:off x="5690849" y="-1626559"/>
            <a:ext cx="589393" cy="12412910"/>
          </a:xfrm>
          <a:prstGeom prst="rect">
            <a:avLst/>
          </a:prstGeom>
        </p:spPr>
      </p:pic>
      <p:pic>
        <p:nvPicPr>
          <p:cNvPr id="12" name="Picture 11" descr="A picture containing indoor, person, person, table&#10;&#10;Description automatically generated">
            <a:extLst>
              <a:ext uri="{FF2B5EF4-FFF2-40B4-BE49-F238E27FC236}">
                <a16:creationId xmlns:a16="http://schemas.microsoft.com/office/drawing/2014/main" id="{65C068E3-C3BA-A944-8A83-004E6F8B5F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-21707"/>
            <a:ext cx="12192000" cy="446662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326F922-D9A3-F241-B5A6-91C03FEA0D7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934" y="4787816"/>
            <a:ext cx="1211013" cy="1823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83786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9CF9B54-510F-7542-8516-959B17F6D50E}"/>
              </a:ext>
            </a:extLst>
          </p:cNvPr>
          <p:cNvSpPr/>
          <p:nvPr/>
        </p:nvSpPr>
        <p:spPr>
          <a:xfrm>
            <a:off x="7315201" y="227817"/>
            <a:ext cx="4509004" cy="6884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GB" sz="3200" b="0" i="0">
                <a:solidFill>
                  <a:schemeClr val="tx2"/>
                </a:solidFill>
                <a:latin typeface="NEXT Pan Book Light" panose="020B0404020101010102" pitchFamily="34" charset="0"/>
                <a:cs typeface="NEXT Pan Book Light" panose="020B0404020101010102" pitchFamily="34" charset="0"/>
              </a:rPr>
              <a:t>LEARN, DARE &amp; MIND</a:t>
            </a:r>
          </a:p>
        </p:txBody>
      </p:sp>
      <p:pic>
        <p:nvPicPr>
          <p:cNvPr id="33" name="Picture 32" descr="A picture containing grass, indoor, building, plane&#10;&#10;Description automatically generated">
            <a:extLst>
              <a:ext uri="{FF2B5EF4-FFF2-40B4-BE49-F238E27FC236}">
                <a16:creationId xmlns:a16="http://schemas.microsoft.com/office/drawing/2014/main" id="{22C2E493-193D-0147-9A28-61FE22789E8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168739"/>
            <a:ext cx="12193134" cy="4520523"/>
          </a:xfrm>
          <a:prstGeom prst="rect">
            <a:avLst/>
          </a:prstGeom>
        </p:spPr>
      </p:pic>
      <p:sp>
        <p:nvSpPr>
          <p:cNvPr id="38" name="Rectangle 37">
            <a:extLst>
              <a:ext uri="{FF2B5EF4-FFF2-40B4-BE49-F238E27FC236}">
                <a16:creationId xmlns:a16="http://schemas.microsoft.com/office/drawing/2014/main" id="{4C88CF8B-216D-E149-AF13-9E39C2C5ACB7}"/>
              </a:ext>
            </a:extLst>
          </p:cNvPr>
          <p:cNvSpPr/>
          <p:nvPr/>
        </p:nvSpPr>
        <p:spPr>
          <a:xfrm>
            <a:off x="0" y="5689262"/>
            <a:ext cx="12191999" cy="11687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AF9A15A-DAFE-3645-9DD1-4E9E06A40E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7795" y="152678"/>
            <a:ext cx="3219719" cy="838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30894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BS 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B3D4F9C8-D769-134B-A0FD-06FBDD876145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7365932" y="0"/>
            <a:ext cx="6245112" cy="6858000"/>
          </a:xfrm>
          <a:prstGeom prst="rect">
            <a:avLst/>
          </a:prstGeom>
          <a:noFill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F5214BA-A044-B24B-BC52-210DF4F1A0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265E07-8C82-884B-A5F2-0F4A8090830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000"/>
            </a:lvl1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3B69E17-B964-C647-B0ED-19A8210634B4}"/>
              </a:ext>
            </a:extLst>
          </p:cNvPr>
          <p:cNvCxnSpPr>
            <a:cxnSpLocks/>
          </p:cNvCxnSpPr>
          <p:nvPr/>
        </p:nvCxnSpPr>
        <p:spPr>
          <a:xfrm>
            <a:off x="10359416" y="6356350"/>
            <a:ext cx="0" cy="365125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A3720DC-D04E-7140-B342-55FE64DD51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05369" y="6356350"/>
            <a:ext cx="8424964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51B88E17-6B59-6E41-8103-EEB3D014F5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88488" y="6367633"/>
            <a:ext cx="865312" cy="365125"/>
          </a:xfrm>
        </p:spPr>
        <p:txBody>
          <a:bodyPr/>
          <a:lstStyle/>
          <a:p>
            <a:fld id="{4D724308-14A4-A044-8A28-3E29BDDFE2A9}" type="slidenum">
              <a:rPr lang="en-GB" smtClean="0"/>
              <a:pPr/>
              <a:t>‹N°›</a:t>
            </a:fld>
            <a:endParaRPr lang="en-GB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03FC86A-82C7-1D49-8D5C-E7A8E6CCE7B8}"/>
              </a:ext>
            </a:extLst>
          </p:cNvPr>
          <p:cNvCxnSpPr>
            <a:cxnSpLocks/>
          </p:cNvCxnSpPr>
          <p:nvPr/>
        </p:nvCxnSpPr>
        <p:spPr>
          <a:xfrm>
            <a:off x="838200" y="6260384"/>
            <a:ext cx="10515600" cy="0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F992F922-22D0-5B49-A579-C0C8353855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6356349"/>
            <a:ext cx="865312" cy="376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80767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BS 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B3D4F9C8-D769-134B-A0FD-06FBDD876145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7365932" y="0"/>
            <a:ext cx="6245112" cy="6858000"/>
          </a:xfrm>
          <a:prstGeom prst="rect">
            <a:avLst/>
          </a:prstGeom>
          <a:noFill/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3B69E17-B964-C647-B0ED-19A8210634B4}"/>
              </a:ext>
            </a:extLst>
          </p:cNvPr>
          <p:cNvCxnSpPr>
            <a:cxnSpLocks/>
          </p:cNvCxnSpPr>
          <p:nvPr/>
        </p:nvCxnSpPr>
        <p:spPr>
          <a:xfrm>
            <a:off x="10359416" y="6356350"/>
            <a:ext cx="0" cy="365125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A3720DC-D04E-7140-B342-55FE64DD51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05369" y="6356350"/>
            <a:ext cx="8424964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51B88E17-6B59-6E41-8103-EEB3D014F5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88488" y="6367633"/>
            <a:ext cx="865312" cy="365125"/>
          </a:xfrm>
        </p:spPr>
        <p:txBody>
          <a:bodyPr/>
          <a:lstStyle/>
          <a:p>
            <a:fld id="{4D724308-14A4-A044-8A28-3E29BDDFE2A9}" type="slidenum">
              <a:rPr lang="en-GB" smtClean="0"/>
              <a:pPr/>
              <a:t>‹N°›</a:t>
            </a:fld>
            <a:endParaRPr lang="en-GB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03FC86A-82C7-1D49-8D5C-E7A8E6CCE7B8}"/>
              </a:ext>
            </a:extLst>
          </p:cNvPr>
          <p:cNvCxnSpPr>
            <a:cxnSpLocks/>
          </p:cNvCxnSpPr>
          <p:nvPr/>
        </p:nvCxnSpPr>
        <p:spPr>
          <a:xfrm>
            <a:off x="838200" y="6260384"/>
            <a:ext cx="10515600" cy="0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F992F922-22D0-5B49-A579-C0C8353855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6356349"/>
            <a:ext cx="865312" cy="376409"/>
          </a:xfrm>
          <a:prstGeom prst="rect">
            <a:avLst/>
          </a:prstGeom>
        </p:spPr>
      </p:pic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262FBA4E-DBFF-46A5-BA56-CC0627145B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430717"/>
            <a:ext cx="11466875" cy="40411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GB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8F4D731-92C8-41AB-8302-F11E8C2D0D6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57188" y="909635"/>
            <a:ext cx="11477331" cy="39687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23E12AC9-5ABD-4EF3-84C7-EFB134A05D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9999" y="1708150"/>
            <a:ext cx="11474519" cy="40036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>
                <a:solidFill>
                  <a:schemeClr val="tx2"/>
                </a:solidFill>
              </a:defRPr>
            </a:lvl1pPr>
            <a:lvl2pPr>
              <a:spcBef>
                <a:spcPts val="600"/>
              </a:spcBef>
              <a:defRPr sz="1400">
                <a:solidFill>
                  <a:schemeClr val="tx2"/>
                </a:solidFill>
              </a:defRPr>
            </a:lvl2pPr>
            <a:lvl3pPr>
              <a:spcBef>
                <a:spcPts val="600"/>
              </a:spcBef>
              <a:defRPr sz="1400">
                <a:solidFill>
                  <a:schemeClr val="tx2"/>
                </a:solidFill>
              </a:defRPr>
            </a:lvl3pPr>
            <a:lvl4pPr>
              <a:spcBef>
                <a:spcPts val="600"/>
              </a:spcBef>
              <a:defRPr sz="1400">
                <a:solidFill>
                  <a:schemeClr val="tx2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33733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BS 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B3D4F9C8-D769-134B-A0FD-06FBDD876145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7365932" y="0"/>
            <a:ext cx="6245112" cy="6858000"/>
          </a:xfrm>
          <a:prstGeom prst="rect">
            <a:avLst/>
          </a:prstGeom>
          <a:noFill/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3B69E17-B964-C647-B0ED-19A8210634B4}"/>
              </a:ext>
            </a:extLst>
          </p:cNvPr>
          <p:cNvCxnSpPr>
            <a:cxnSpLocks/>
          </p:cNvCxnSpPr>
          <p:nvPr/>
        </p:nvCxnSpPr>
        <p:spPr>
          <a:xfrm>
            <a:off x="10359416" y="6356350"/>
            <a:ext cx="0" cy="365125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A3720DC-D04E-7140-B342-55FE64DD51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05369" y="6356350"/>
            <a:ext cx="8424964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51B88E17-6B59-6E41-8103-EEB3D014F5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88488" y="6367633"/>
            <a:ext cx="865312" cy="365125"/>
          </a:xfrm>
        </p:spPr>
        <p:txBody>
          <a:bodyPr/>
          <a:lstStyle/>
          <a:p>
            <a:fld id="{4D724308-14A4-A044-8A28-3E29BDDFE2A9}" type="slidenum">
              <a:rPr lang="en-GB" smtClean="0"/>
              <a:pPr/>
              <a:t>‹N°›</a:t>
            </a:fld>
            <a:endParaRPr lang="en-GB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03FC86A-82C7-1D49-8D5C-E7A8E6CCE7B8}"/>
              </a:ext>
            </a:extLst>
          </p:cNvPr>
          <p:cNvCxnSpPr>
            <a:cxnSpLocks/>
          </p:cNvCxnSpPr>
          <p:nvPr/>
        </p:nvCxnSpPr>
        <p:spPr>
          <a:xfrm>
            <a:off x="838200" y="6260384"/>
            <a:ext cx="10515600" cy="0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F992F922-22D0-5B49-A579-C0C8353855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6356349"/>
            <a:ext cx="865312" cy="376409"/>
          </a:xfrm>
          <a:prstGeom prst="rect">
            <a:avLst/>
          </a:prstGeom>
        </p:spPr>
      </p:pic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262FBA4E-DBFF-46A5-BA56-CC0627145B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430717"/>
            <a:ext cx="11466875" cy="40411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GB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8F4D731-92C8-41AB-8302-F11E8C2D0D6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57188" y="909635"/>
            <a:ext cx="11477331" cy="39687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40A994B-4973-4D03-8A77-767C915E55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0000" y="1708150"/>
            <a:ext cx="5626800" cy="40036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>
                <a:solidFill>
                  <a:schemeClr val="tx2"/>
                </a:solidFill>
              </a:defRPr>
            </a:lvl1pPr>
            <a:lvl2pPr>
              <a:spcBef>
                <a:spcPts val="600"/>
              </a:spcBef>
              <a:defRPr sz="1400">
                <a:solidFill>
                  <a:schemeClr val="tx2"/>
                </a:solidFill>
              </a:defRPr>
            </a:lvl2pPr>
            <a:lvl3pPr>
              <a:spcBef>
                <a:spcPts val="600"/>
              </a:spcBef>
              <a:defRPr sz="1400">
                <a:solidFill>
                  <a:schemeClr val="tx2"/>
                </a:solidFill>
              </a:defRPr>
            </a:lvl3pPr>
            <a:lvl4pPr>
              <a:spcBef>
                <a:spcPts val="600"/>
              </a:spcBef>
              <a:defRPr sz="1400">
                <a:solidFill>
                  <a:schemeClr val="tx2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18" name="Content Placeholder 35">
            <a:extLst>
              <a:ext uri="{FF2B5EF4-FFF2-40B4-BE49-F238E27FC236}">
                <a16:creationId xmlns:a16="http://schemas.microsoft.com/office/drawing/2014/main" id="{EEA90B3A-5859-4EC9-8CFE-FC52368B368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91574" y="1708150"/>
            <a:ext cx="5628408" cy="40036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>
                <a:solidFill>
                  <a:schemeClr val="tx2"/>
                </a:solidFill>
              </a:defRPr>
            </a:lvl1pPr>
            <a:lvl2pPr>
              <a:spcBef>
                <a:spcPts val="600"/>
              </a:spcBef>
              <a:defRPr sz="1400">
                <a:solidFill>
                  <a:schemeClr val="tx2"/>
                </a:solidFill>
              </a:defRPr>
            </a:lvl2pPr>
            <a:lvl3pPr>
              <a:spcBef>
                <a:spcPts val="600"/>
              </a:spcBef>
              <a:defRPr sz="1400">
                <a:solidFill>
                  <a:schemeClr val="tx2"/>
                </a:solidFill>
              </a:defRPr>
            </a:lvl3pPr>
            <a:lvl4pPr>
              <a:spcBef>
                <a:spcPts val="600"/>
              </a:spcBef>
              <a:defRPr sz="1400">
                <a:solidFill>
                  <a:schemeClr val="tx2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545210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BS 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B3D4F9C8-D769-134B-A0FD-06FBDD876145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7365932" y="0"/>
            <a:ext cx="6245112" cy="6858000"/>
          </a:xfrm>
          <a:prstGeom prst="rect">
            <a:avLst/>
          </a:prstGeom>
          <a:noFill/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3B69E17-B964-C647-B0ED-19A8210634B4}"/>
              </a:ext>
            </a:extLst>
          </p:cNvPr>
          <p:cNvCxnSpPr>
            <a:cxnSpLocks/>
          </p:cNvCxnSpPr>
          <p:nvPr/>
        </p:nvCxnSpPr>
        <p:spPr>
          <a:xfrm>
            <a:off x="10359416" y="6356350"/>
            <a:ext cx="0" cy="365125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A3720DC-D04E-7140-B342-55FE64DD51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05369" y="6356350"/>
            <a:ext cx="8424964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51B88E17-6B59-6E41-8103-EEB3D014F5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88488" y="6367633"/>
            <a:ext cx="865312" cy="365125"/>
          </a:xfrm>
        </p:spPr>
        <p:txBody>
          <a:bodyPr/>
          <a:lstStyle/>
          <a:p>
            <a:fld id="{4D724308-14A4-A044-8A28-3E29BDDFE2A9}" type="slidenum">
              <a:rPr lang="en-GB" smtClean="0"/>
              <a:pPr/>
              <a:t>‹N°›</a:t>
            </a:fld>
            <a:endParaRPr lang="en-GB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03FC86A-82C7-1D49-8D5C-E7A8E6CCE7B8}"/>
              </a:ext>
            </a:extLst>
          </p:cNvPr>
          <p:cNvCxnSpPr>
            <a:cxnSpLocks/>
          </p:cNvCxnSpPr>
          <p:nvPr/>
        </p:nvCxnSpPr>
        <p:spPr>
          <a:xfrm>
            <a:off x="838200" y="6260384"/>
            <a:ext cx="10515600" cy="0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F992F922-22D0-5B49-A579-C0C8353855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6356349"/>
            <a:ext cx="865312" cy="376409"/>
          </a:xfrm>
          <a:prstGeom prst="rect">
            <a:avLst/>
          </a:prstGeom>
        </p:spPr>
      </p:pic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262FBA4E-DBFF-46A5-BA56-CC0627145B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430717"/>
            <a:ext cx="11466875" cy="40411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GB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8F4D731-92C8-41AB-8302-F11E8C2D0D6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57188" y="909635"/>
            <a:ext cx="11477331" cy="39687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C9EB646-C668-4F0E-ACF4-7B8C315DD4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9998" y="1708150"/>
            <a:ext cx="3679200" cy="40036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>
                <a:solidFill>
                  <a:schemeClr val="tx2"/>
                </a:solidFill>
              </a:defRPr>
            </a:lvl1pPr>
            <a:lvl2pPr>
              <a:spcBef>
                <a:spcPts val="600"/>
              </a:spcBef>
              <a:defRPr sz="1400">
                <a:solidFill>
                  <a:schemeClr val="tx2"/>
                </a:solidFill>
              </a:defRPr>
            </a:lvl2pPr>
            <a:lvl3pPr>
              <a:spcBef>
                <a:spcPts val="600"/>
              </a:spcBef>
              <a:defRPr sz="1400">
                <a:solidFill>
                  <a:schemeClr val="tx2"/>
                </a:solidFill>
              </a:defRPr>
            </a:lvl3pPr>
            <a:lvl4pPr>
              <a:spcBef>
                <a:spcPts val="600"/>
              </a:spcBef>
              <a:defRPr sz="1400">
                <a:solidFill>
                  <a:schemeClr val="tx2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52F6DB32-D693-453C-BA16-79C5DBC5BE37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251325" y="1708150"/>
            <a:ext cx="3679200" cy="40036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>
                <a:solidFill>
                  <a:schemeClr val="tx2"/>
                </a:solidFill>
              </a:defRPr>
            </a:lvl1pPr>
            <a:lvl2pPr>
              <a:spcBef>
                <a:spcPts val="600"/>
              </a:spcBef>
              <a:defRPr sz="1400">
                <a:solidFill>
                  <a:schemeClr val="tx2"/>
                </a:solidFill>
              </a:defRPr>
            </a:lvl2pPr>
            <a:lvl3pPr>
              <a:spcBef>
                <a:spcPts val="600"/>
              </a:spcBef>
              <a:defRPr sz="1400">
                <a:solidFill>
                  <a:schemeClr val="tx2"/>
                </a:solidFill>
              </a:defRPr>
            </a:lvl3pPr>
            <a:lvl4pPr>
              <a:spcBef>
                <a:spcPts val="600"/>
              </a:spcBef>
              <a:defRPr sz="1400">
                <a:solidFill>
                  <a:schemeClr val="tx2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7C0E5222-C2D0-429A-BFC6-65B01647FE5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142653" y="1708150"/>
            <a:ext cx="3677328" cy="40036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>
                <a:solidFill>
                  <a:schemeClr val="tx2"/>
                </a:solidFill>
              </a:defRPr>
            </a:lvl1pPr>
            <a:lvl2pPr>
              <a:spcBef>
                <a:spcPts val="600"/>
              </a:spcBef>
              <a:defRPr sz="1400">
                <a:solidFill>
                  <a:schemeClr val="tx2"/>
                </a:solidFill>
              </a:defRPr>
            </a:lvl2pPr>
            <a:lvl3pPr>
              <a:spcBef>
                <a:spcPts val="600"/>
              </a:spcBef>
              <a:defRPr sz="1400">
                <a:solidFill>
                  <a:schemeClr val="tx2"/>
                </a:solidFill>
              </a:defRPr>
            </a:lvl3pPr>
            <a:lvl4pPr>
              <a:spcBef>
                <a:spcPts val="600"/>
              </a:spcBef>
              <a:defRPr sz="1400">
                <a:solidFill>
                  <a:schemeClr val="tx2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234059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BS 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B3D4F9C8-D769-134B-A0FD-06FBDD876145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7365932" y="0"/>
            <a:ext cx="6245112" cy="6858000"/>
          </a:xfrm>
          <a:prstGeom prst="rect">
            <a:avLst/>
          </a:prstGeom>
          <a:noFill/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3B69E17-B964-C647-B0ED-19A8210634B4}"/>
              </a:ext>
            </a:extLst>
          </p:cNvPr>
          <p:cNvCxnSpPr>
            <a:cxnSpLocks/>
          </p:cNvCxnSpPr>
          <p:nvPr/>
        </p:nvCxnSpPr>
        <p:spPr>
          <a:xfrm>
            <a:off x="10359416" y="6356350"/>
            <a:ext cx="0" cy="365125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A3720DC-D04E-7140-B342-55FE64DD51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05369" y="6356350"/>
            <a:ext cx="8424964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51B88E17-6B59-6E41-8103-EEB3D014F5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88488" y="6367633"/>
            <a:ext cx="865312" cy="365125"/>
          </a:xfrm>
        </p:spPr>
        <p:txBody>
          <a:bodyPr/>
          <a:lstStyle/>
          <a:p>
            <a:fld id="{4D724308-14A4-A044-8A28-3E29BDDFE2A9}" type="slidenum">
              <a:rPr lang="en-GB" smtClean="0"/>
              <a:pPr/>
              <a:t>‹N°›</a:t>
            </a:fld>
            <a:endParaRPr lang="en-GB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03FC86A-82C7-1D49-8D5C-E7A8E6CCE7B8}"/>
              </a:ext>
            </a:extLst>
          </p:cNvPr>
          <p:cNvCxnSpPr>
            <a:cxnSpLocks/>
          </p:cNvCxnSpPr>
          <p:nvPr/>
        </p:nvCxnSpPr>
        <p:spPr>
          <a:xfrm>
            <a:off x="838200" y="6260384"/>
            <a:ext cx="10515600" cy="0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F992F922-22D0-5B49-A579-C0C8353855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6356349"/>
            <a:ext cx="865312" cy="376409"/>
          </a:xfrm>
          <a:prstGeom prst="rect">
            <a:avLst/>
          </a:prstGeom>
        </p:spPr>
      </p:pic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262FBA4E-DBFF-46A5-BA56-CC0627145B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430717"/>
            <a:ext cx="11466875" cy="40411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GB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8F4D731-92C8-41AB-8302-F11E8C2D0D6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57188" y="909635"/>
            <a:ext cx="11477331" cy="39687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8683DC5-3F3A-40FA-BF8E-1276E5D081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9998" y="1708150"/>
            <a:ext cx="2714400" cy="40036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>
                <a:solidFill>
                  <a:schemeClr val="tx2"/>
                </a:solidFill>
              </a:defRPr>
            </a:lvl1pPr>
            <a:lvl2pPr>
              <a:spcBef>
                <a:spcPts val="600"/>
              </a:spcBef>
              <a:defRPr sz="1400">
                <a:solidFill>
                  <a:schemeClr val="tx2"/>
                </a:solidFill>
              </a:defRPr>
            </a:lvl2pPr>
            <a:lvl3pPr>
              <a:spcBef>
                <a:spcPts val="600"/>
              </a:spcBef>
              <a:defRPr sz="1400">
                <a:solidFill>
                  <a:schemeClr val="tx2"/>
                </a:solidFill>
              </a:defRPr>
            </a:lvl3pPr>
            <a:lvl4pPr>
              <a:spcBef>
                <a:spcPts val="600"/>
              </a:spcBef>
              <a:defRPr sz="1400">
                <a:solidFill>
                  <a:schemeClr val="tx2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BEB97185-BCAF-4117-B55B-98E842AEDF4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279775" y="1708150"/>
            <a:ext cx="2714400" cy="40036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>
                <a:solidFill>
                  <a:schemeClr val="tx2"/>
                </a:solidFill>
              </a:defRPr>
            </a:lvl1pPr>
            <a:lvl2pPr>
              <a:spcBef>
                <a:spcPts val="600"/>
              </a:spcBef>
              <a:defRPr sz="1400">
                <a:solidFill>
                  <a:schemeClr val="tx2"/>
                </a:solidFill>
              </a:defRPr>
            </a:lvl2pPr>
            <a:lvl3pPr>
              <a:spcBef>
                <a:spcPts val="600"/>
              </a:spcBef>
              <a:defRPr sz="1400">
                <a:solidFill>
                  <a:schemeClr val="tx2"/>
                </a:solidFill>
              </a:defRPr>
            </a:lvl3pPr>
            <a:lvl4pPr>
              <a:spcBef>
                <a:spcPts val="600"/>
              </a:spcBef>
              <a:defRPr sz="1400">
                <a:solidFill>
                  <a:schemeClr val="tx2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AF9D9B7-B194-412B-915C-1DBAD06F4CC3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199553" y="1708150"/>
            <a:ext cx="2714400" cy="40036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>
                <a:solidFill>
                  <a:schemeClr val="tx2"/>
                </a:solidFill>
              </a:defRPr>
            </a:lvl1pPr>
            <a:lvl2pPr>
              <a:spcBef>
                <a:spcPts val="600"/>
              </a:spcBef>
              <a:defRPr sz="1400">
                <a:solidFill>
                  <a:schemeClr val="tx2"/>
                </a:solidFill>
              </a:defRPr>
            </a:lvl2pPr>
            <a:lvl3pPr>
              <a:spcBef>
                <a:spcPts val="600"/>
              </a:spcBef>
              <a:defRPr sz="1400">
                <a:solidFill>
                  <a:schemeClr val="tx2"/>
                </a:solidFill>
              </a:defRPr>
            </a:lvl3pPr>
            <a:lvl4pPr>
              <a:spcBef>
                <a:spcPts val="600"/>
              </a:spcBef>
              <a:defRPr sz="1400">
                <a:solidFill>
                  <a:schemeClr val="tx2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B022B156-2B3F-4E35-A511-BCA330F4BE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9105580" y="1708150"/>
            <a:ext cx="2714400" cy="40036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>
                <a:solidFill>
                  <a:schemeClr val="tx2"/>
                </a:solidFill>
              </a:defRPr>
            </a:lvl1pPr>
            <a:lvl2pPr>
              <a:spcBef>
                <a:spcPts val="600"/>
              </a:spcBef>
              <a:defRPr sz="1400">
                <a:solidFill>
                  <a:schemeClr val="tx2"/>
                </a:solidFill>
              </a:defRPr>
            </a:lvl2pPr>
            <a:lvl3pPr>
              <a:spcBef>
                <a:spcPts val="600"/>
              </a:spcBef>
              <a:defRPr sz="1400">
                <a:solidFill>
                  <a:schemeClr val="tx2"/>
                </a:solidFill>
              </a:defRPr>
            </a:lvl3pPr>
            <a:lvl4pPr>
              <a:spcBef>
                <a:spcPts val="600"/>
              </a:spcBef>
              <a:defRPr sz="1400">
                <a:solidFill>
                  <a:schemeClr val="tx2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18052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F71821-D3E2-4AD3-A16B-D977999DE163}" type="datetimeFigureOut">
              <a:rPr lang="fr-FR" smtClean="0"/>
              <a:t>01/02/202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CBF80E-7D64-48B9-AC2F-C551AC960EB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6442808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 Section Header">
    <p:bg>
      <p:bgPr>
        <a:gradFill flip="none" rotWithShape="1">
          <a:gsLst>
            <a:gs pos="99000">
              <a:schemeClr val="accent2"/>
            </a:gs>
            <a:gs pos="0">
              <a:schemeClr val="accent2">
                <a:lumMod val="50000"/>
              </a:schemeClr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C7DAA258-42C8-464F-B9BC-95E62C425881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6000"/>
          </a:blip>
          <a:stretch>
            <a:fillRect/>
          </a:stretch>
        </p:blipFill>
        <p:spPr>
          <a:xfrm>
            <a:off x="0" y="0"/>
            <a:ext cx="4477624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8BAB5EC-5585-1040-9BAE-11BF70325D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587E049-D961-E445-8F2A-468DAAAF8F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8498474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 Section Header 2">
    <p:bg>
      <p:bgPr>
        <a:gradFill flip="none" rotWithShape="1">
          <a:gsLst>
            <a:gs pos="99000">
              <a:schemeClr val="accent2"/>
            </a:gs>
            <a:gs pos="0">
              <a:schemeClr val="accent2">
                <a:lumMod val="50000"/>
              </a:schemeClr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C86E7DE-2426-A145-B4F9-3DE497668328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4110102" y="0"/>
            <a:ext cx="3556393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8BAB5EC-5585-1040-9BAE-11BF70325D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587E049-D961-E445-8F2A-468DAAAF8F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9753557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 Section Header 3">
    <p:bg>
      <p:bgPr>
        <a:gradFill flip="none" rotWithShape="1">
          <a:gsLst>
            <a:gs pos="99000">
              <a:schemeClr val="accent2"/>
            </a:gs>
            <a:gs pos="0">
              <a:schemeClr val="accent2">
                <a:lumMod val="50000"/>
              </a:schemeClr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F49C8E1-FE4B-D340-849E-981D20A8D659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5832554" y="0"/>
            <a:ext cx="624511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8BAB5EC-5585-1040-9BAE-11BF70325D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587E049-D961-E445-8F2A-468DAAAF8F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70271709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B9D5DF27-F31A-B04C-9595-878DE41685C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7365932" y="0"/>
            <a:ext cx="6245112" cy="6858000"/>
          </a:xfrm>
          <a:prstGeom prst="rect">
            <a:avLst/>
          </a:prstGeom>
          <a:noFill/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744C1F-2126-9F49-BD83-493DA1524B2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8240852-23A9-9743-894C-88669CBAFEB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BFDA423-B60A-594D-848F-90CC3C9D7A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en-GB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29D6C04-FD09-D945-A3BD-92094FAE232B}"/>
              </a:ext>
            </a:extLst>
          </p:cNvPr>
          <p:cNvCxnSpPr>
            <a:cxnSpLocks/>
          </p:cNvCxnSpPr>
          <p:nvPr/>
        </p:nvCxnSpPr>
        <p:spPr>
          <a:xfrm>
            <a:off x="10359416" y="6356350"/>
            <a:ext cx="0" cy="365125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ooter Placeholder 11">
            <a:extLst>
              <a:ext uri="{FF2B5EF4-FFF2-40B4-BE49-F238E27FC236}">
                <a16:creationId xmlns:a16="http://schemas.microsoft.com/office/drawing/2014/main" id="{98A44031-1A80-E04C-88AA-D6C1DEBE47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05369" y="6356350"/>
            <a:ext cx="8424964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18" name="Slide Number Placeholder 12">
            <a:extLst>
              <a:ext uri="{FF2B5EF4-FFF2-40B4-BE49-F238E27FC236}">
                <a16:creationId xmlns:a16="http://schemas.microsoft.com/office/drawing/2014/main" id="{D35956ED-0871-9845-A765-6C835B8A1E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88488" y="6367633"/>
            <a:ext cx="865312" cy="365125"/>
          </a:xfrm>
        </p:spPr>
        <p:txBody>
          <a:bodyPr/>
          <a:lstStyle>
            <a:lvl1pPr>
              <a:defRPr/>
            </a:lvl1pPr>
          </a:lstStyle>
          <a:p>
            <a:fld id="{C5A8BDFC-9684-F74F-83CC-B316FE9BF6D7}" type="slidenum">
              <a:rPr lang="en-GB" smtClean="0"/>
              <a:pPr/>
              <a:t>‹N°›</a:t>
            </a:fld>
            <a:endParaRPr lang="en-GB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D416F1A-1712-1F40-8E69-DC6E7774F52A}"/>
              </a:ext>
            </a:extLst>
          </p:cNvPr>
          <p:cNvCxnSpPr>
            <a:cxnSpLocks/>
          </p:cNvCxnSpPr>
          <p:nvPr/>
        </p:nvCxnSpPr>
        <p:spPr>
          <a:xfrm>
            <a:off x="838200" y="6260384"/>
            <a:ext cx="10515600" cy="0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>
            <a:extLst>
              <a:ext uri="{FF2B5EF4-FFF2-40B4-BE49-F238E27FC236}">
                <a16:creationId xmlns:a16="http://schemas.microsoft.com/office/drawing/2014/main" id="{D11293CC-F5EB-D548-B1DC-B4692E4EDD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6356349"/>
            <a:ext cx="865312" cy="376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880723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 Thir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E6E8EE53-8C6F-3348-8521-34DD95C71567}"/>
              </a:ext>
            </a:extLst>
          </p:cNvPr>
          <p:cNvSpPr/>
          <p:nvPr/>
        </p:nvSpPr>
        <p:spPr bwMode="white">
          <a:xfrm>
            <a:off x="0" y="0"/>
            <a:ext cx="4079508" cy="685800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100000">
                <a:schemeClr val="tx2"/>
              </a:gs>
            </a:gsLst>
            <a:lin ang="54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fr-FR" sz="1200">
              <a:solidFill>
                <a:schemeClr val="bg1"/>
              </a:solidFill>
              <a:latin typeface="Century Gothic" panose="020B0502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D5DBE9F-3F7F-F64C-87E0-4E4A5B71541B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0" y="0"/>
            <a:ext cx="3556393" cy="68580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4B921784-24E5-DD44-B6B2-4A7AB3AD3B8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8240852-23A9-9743-894C-88669CBAFEB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20789" y="264164"/>
            <a:ext cx="7486731" cy="5912799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BFDA423-B60A-594D-848F-90CC3C9D7A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796" y="2766219"/>
            <a:ext cx="3367917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GB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29D6C04-FD09-D945-A3BD-92094FAE232B}"/>
              </a:ext>
            </a:extLst>
          </p:cNvPr>
          <p:cNvCxnSpPr>
            <a:cxnSpLocks/>
          </p:cNvCxnSpPr>
          <p:nvPr/>
        </p:nvCxnSpPr>
        <p:spPr>
          <a:xfrm>
            <a:off x="10913136" y="6356350"/>
            <a:ext cx="0" cy="365125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ooter Placeholder 11">
            <a:extLst>
              <a:ext uri="{FF2B5EF4-FFF2-40B4-BE49-F238E27FC236}">
                <a16:creationId xmlns:a16="http://schemas.microsoft.com/office/drawing/2014/main" id="{98A44031-1A80-E04C-88AA-D6C1DEBE47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0789" y="6356350"/>
            <a:ext cx="6363264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18" name="Slide Number Placeholder 12">
            <a:extLst>
              <a:ext uri="{FF2B5EF4-FFF2-40B4-BE49-F238E27FC236}">
                <a16:creationId xmlns:a16="http://schemas.microsoft.com/office/drawing/2014/main" id="{D35956ED-0871-9845-A765-6C835B8A1E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42208" y="6367633"/>
            <a:ext cx="865312" cy="365125"/>
          </a:xfrm>
        </p:spPr>
        <p:txBody>
          <a:bodyPr/>
          <a:lstStyle>
            <a:lvl1pPr>
              <a:defRPr/>
            </a:lvl1pPr>
          </a:lstStyle>
          <a:p>
            <a:fld id="{981A8F91-A727-AA4E-BA7C-7DADB2A2D6DF}" type="slidenum">
              <a:rPr lang="en-GB" smtClean="0"/>
              <a:pPr/>
              <a:t>‹N°›</a:t>
            </a:fld>
            <a:endParaRPr lang="en-GB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D416F1A-1712-1F40-8E69-DC6E7774F52A}"/>
              </a:ext>
            </a:extLst>
          </p:cNvPr>
          <p:cNvCxnSpPr>
            <a:cxnSpLocks/>
          </p:cNvCxnSpPr>
          <p:nvPr/>
        </p:nvCxnSpPr>
        <p:spPr>
          <a:xfrm>
            <a:off x="4420789" y="6260384"/>
            <a:ext cx="7486731" cy="0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818474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 Arrow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>
            <a:extLst>
              <a:ext uri="{FF2B5EF4-FFF2-40B4-BE49-F238E27FC236}">
                <a16:creationId xmlns:a16="http://schemas.microsoft.com/office/drawing/2014/main" id="{ADE73E13-9138-3A4D-908C-AE63E59AC4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4">
            <a:extLst>
              <a:ext uri="{FF2B5EF4-FFF2-40B4-BE49-F238E27FC236}">
                <a16:creationId xmlns:a16="http://schemas.microsoft.com/office/drawing/2014/main" id="{AAE6EDD4-05B6-BC41-ADC7-A7EB8884A24E}"/>
              </a:ext>
            </a:extLst>
          </p:cNvPr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75000"/>
                </a:schemeClr>
              </a:gs>
              <a:gs pos="100000">
                <a:schemeClr val="tx2"/>
              </a:gs>
            </a:gsLst>
            <a:lin ang="54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fr-FR" sz="1200">
              <a:solidFill>
                <a:schemeClr val="bg1"/>
              </a:solidFill>
              <a:latin typeface="Century Gothic" panose="020B0502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BFDA423-B60A-594D-848F-90CC3C9D7A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796" y="2766219"/>
            <a:ext cx="3367917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BC84DD7-C3EF-6B47-A2F5-7451B53E78F9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5000"/>
          </a:blip>
          <a:stretch>
            <a:fillRect/>
          </a:stretch>
        </p:blipFill>
        <p:spPr>
          <a:xfrm>
            <a:off x="-1235034" y="0"/>
            <a:ext cx="4477624" cy="6858000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AC4602E-B6DE-8F41-8C75-2F99264CEBDF}"/>
              </a:ext>
            </a:extLst>
          </p:cNvPr>
          <p:cNvCxnSpPr>
            <a:cxnSpLocks/>
          </p:cNvCxnSpPr>
          <p:nvPr/>
        </p:nvCxnSpPr>
        <p:spPr>
          <a:xfrm>
            <a:off x="10913136" y="6356350"/>
            <a:ext cx="0" cy="365125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1">
            <a:extLst>
              <a:ext uri="{FF2B5EF4-FFF2-40B4-BE49-F238E27FC236}">
                <a16:creationId xmlns:a16="http://schemas.microsoft.com/office/drawing/2014/main" id="{F5326669-005B-DB4B-A2A0-AF67F697BD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0789" y="6356350"/>
            <a:ext cx="6363264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21" name="Slide Number Placeholder 12">
            <a:extLst>
              <a:ext uri="{FF2B5EF4-FFF2-40B4-BE49-F238E27FC236}">
                <a16:creationId xmlns:a16="http://schemas.microsoft.com/office/drawing/2014/main" id="{3182451C-DA77-ED4C-B1B9-9DFEF9F704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42208" y="6367633"/>
            <a:ext cx="865312" cy="365125"/>
          </a:xfrm>
        </p:spPr>
        <p:txBody>
          <a:bodyPr/>
          <a:lstStyle>
            <a:lvl1pPr>
              <a:defRPr/>
            </a:lvl1pPr>
          </a:lstStyle>
          <a:p>
            <a:fld id="{D1BBA52E-3AAA-4043-8C00-6F6832E917D4}" type="slidenum">
              <a:rPr lang="en-GB" smtClean="0"/>
              <a:pPr/>
              <a:t>‹N°›</a:t>
            </a:fld>
            <a:endParaRPr lang="en-GB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4F2629F1-D831-284F-92A8-631DA58FE4AA}"/>
              </a:ext>
            </a:extLst>
          </p:cNvPr>
          <p:cNvCxnSpPr>
            <a:cxnSpLocks/>
          </p:cNvCxnSpPr>
          <p:nvPr/>
        </p:nvCxnSpPr>
        <p:spPr>
          <a:xfrm>
            <a:off x="4420789" y="6260384"/>
            <a:ext cx="7486731" cy="0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772610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BS Arrow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>
            <a:extLst>
              <a:ext uri="{FF2B5EF4-FFF2-40B4-BE49-F238E27FC236}">
                <a16:creationId xmlns:a16="http://schemas.microsoft.com/office/drawing/2014/main" id="{ADE73E13-9138-3A4D-908C-AE63E59AC4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4">
            <a:extLst>
              <a:ext uri="{FF2B5EF4-FFF2-40B4-BE49-F238E27FC236}">
                <a16:creationId xmlns:a16="http://schemas.microsoft.com/office/drawing/2014/main" id="{AAE6EDD4-05B6-BC41-ADC7-A7EB8884A24E}"/>
              </a:ext>
            </a:extLst>
          </p:cNvPr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75000"/>
                </a:schemeClr>
              </a:gs>
              <a:gs pos="100000">
                <a:schemeClr val="tx2"/>
              </a:gs>
            </a:gsLst>
            <a:lin ang="54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fr-FR" sz="1200">
              <a:solidFill>
                <a:schemeClr val="bg1"/>
              </a:solidFill>
              <a:latin typeface="Century Gothic" panose="020B0502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BFDA423-B60A-594D-848F-90CC3C9D7A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796" y="2766219"/>
            <a:ext cx="3367917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BC84DD7-C3EF-6B47-A2F5-7451B53E78F9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5000"/>
          </a:blip>
          <a:stretch>
            <a:fillRect/>
          </a:stretch>
        </p:blipFill>
        <p:spPr>
          <a:xfrm>
            <a:off x="-1235034" y="0"/>
            <a:ext cx="4477624" cy="6858000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AC4602E-B6DE-8F41-8C75-2F99264CEBDF}"/>
              </a:ext>
            </a:extLst>
          </p:cNvPr>
          <p:cNvCxnSpPr>
            <a:cxnSpLocks/>
          </p:cNvCxnSpPr>
          <p:nvPr/>
        </p:nvCxnSpPr>
        <p:spPr>
          <a:xfrm>
            <a:off x="10913136" y="6356350"/>
            <a:ext cx="0" cy="365125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1">
            <a:extLst>
              <a:ext uri="{FF2B5EF4-FFF2-40B4-BE49-F238E27FC236}">
                <a16:creationId xmlns:a16="http://schemas.microsoft.com/office/drawing/2014/main" id="{F5326669-005B-DB4B-A2A0-AF67F697BD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0789" y="6356350"/>
            <a:ext cx="6363264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21" name="Slide Number Placeholder 12">
            <a:extLst>
              <a:ext uri="{FF2B5EF4-FFF2-40B4-BE49-F238E27FC236}">
                <a16:creationId xmlns:a16="http://schemas.microsoft.com/office/drawing/2014/main" id="{3182451C-DA77-ED4C-B1B9-9DFEF9F704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42208" y="6367633"/>
            <a:ext cx="865312" cy="365125"/>
          </a:xfrm>
        </p:spPr>
        <p:txBody>
          <a:bodyPr/>
          <a:lstStyle>
            <a:lvl1pPr>
              <a:defRPr/>
            </a:lvl1pPr>
          </a:lstStyle>
          <a:p>
            <a:fld id="{D1BBA52E-3AAA-4043-8C00-6F6832E917D4}" type="slidenum">
              <a:rPr lang="en-GB" smtClean="0"/>
              <a:pPr/>
              <a:t>‹N°›</a:t>
            </a:fld>
            <a:endParaRPr lang="en-GB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4F2629F1-D831-284F-92A8-631DA58FE4AA}"/>
              </a:ext>
            </a:extLst>
          </p:cNvPr>
          <p:cNvCxnSpPr>
            <a:cxnSpLocks/>
          </p:cNvCxnSpPr>
          <p:nvPr/>
        </p:nvCxnSpPr>
        <p:spPr>
          <a:xfrm>
            <a:off x="4420789" y="6260384"/>
            <a:ext cx="7486731" cy="0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8804665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BS Arrow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159AE2E-859F-BD41-AD44-A5D46BBA1807}"/>
              </a:ext>
            </a:extLst>
          </p:cNvPr>
          <p:cNvSpPr/>
          <p:nvPr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fr-FR" sz="1200">
              <a:solidFill>
                <a:schemeClr val="bg1"/>
              </a:solidFill>
              <a:latin typeface="Century Gothic" panose="020B0502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1F1F7D6-81FF-1545-A2D8-9CA47934C544}"/>
              </a:ext>
            </a:extLst>
          </p:cNvPr>
          <p:cNvSpPr/>
          <p:nvPr/>
        </p:nvSpPr>
        <p:spPr bwMode="white">
          <a:xfrm>
            <a:off x="4051139" y="0"/>
            <a:ext cx="4079508" cy="685800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100000">
                <a:schemeClr val="tx2"/>
              </a:gs>
            </a:gsLst>
            <a:lin ang="54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fr-FR" sz="1200">
              <a:solidFill>
                <a:schemeClr val="bg1"/>
              </a:solidFill>
              <a:latin typeface="Century Gothic" panose="020B0502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B25EDC0-76B3-C04B-B8B7-82BE154D11B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435929F2-0BBE-9B46-9724-76D4AD1965EC}"/>
              </a:ext>
            </a:extLst>
          </p:cNvPr>
          <p:cNvSpPr/>
          <p:nvPr/>
        </p:nvSpPr>
        <p:spPr bwMode="white">
          <a:xfrm>
            <a:off x="8113853" y="0"/>
            <a:ext cx="4079508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fr-FR" sz="1200">
              <a:solidFill>
                <a:schemeClr val="bg1"/>
              </a:solidFill>
              <a:latin typeface="Century Gothic" panose="020B0502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E33B05CA-EF63-7C4E-998D-EB9E30575B1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12178847" y="0"/>
            <a:ext cx="416951" cy="6858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6304E279-C530-BF46-824A-E79B3B6D6C1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8105247" y="0"/>
            <a:ext cx="416951" cy="68580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C1B53422-A1AA-4253-A306-79728F3952E7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7000"/>
          </a:blip>
          <a:stretch>
            <a:fillRect/>
          </a:stretch>
        </p:blipFill>
        <p:spPr>
          <a:xfrm>
            <a:off x="-613457" y="0"/>
            <a:ext cx="4477623" cy="685799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BDD7F66-B62D-4378-947D-A4C4CF8CE721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5000"/>
          </a:blip>
          <a:stretch>
            <a:fillRect/>
          </a:stretch>
        </p:blipFill>
        <p:spPr>
          <a:xfrm>
            <a:off x="4317803" y="0"/>
            <a:ext cx="3556393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B2DD466-4995-45BD-8F71-329F2749058E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"/>
          </a:blip>
          <a:stretch>
            <a:fillRect/>
          </a:stretch>
        </p:blipFill>
        <p:spPr>
          <a:xfrm>
            <a:off x="8112603" y="0"/>
            <a:ext cx="624511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754412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 Two headers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FC358E84-14E8-CD4E-8FA5-32B450D1D9E4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7365932" y="0"/>
            <a:ext cx="6245112" cy="6858000"/>
          </a:xfrm>
          <a:prstGeom prst="rect">
            <a:avLst/>
          </a:prstGeom>
          <a:noFill/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E6D612-6A93-7342-9DBE-636372130D1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893193"/>
            <a:ext cx="5157787" cy="611881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CEFF560-C132-A046-9FE7-DA320380BCA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0D2C13-B1EA-0342-851E-35A57D6A72E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893193"/>
            <a:ext cx="5183188" cy="611881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685195E-B9B9-8742-B15B-DE68C082174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C484BEB-0020-9941-8A89-BEA2D3E95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en-GB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7AF2A31-4D8B-9145-8096-96656F76ADC7}"/>
              </a:ext>
            </a:extLst>
          </p:cNvPr>
          <p:cNvCxnSpPr>
            <a:cxnSpLocks/>
          </p:cNvCxnSpPr>
          <p:nvPr/>
        </p:nvCxnSpPr>
        <p:spPr>
          <a:xfrm>
            <a:off x="10359416" y="6356350"/>
            <a:ext cx="0" cy="365125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Footer Placeholder 11">
            <a:extLst>
              <a:ext uri="{FF2B5EF4-FFF2-40B4-BE49-F238E27FC236}">
                <a16:creationId xmlns:a16="http://schemas.microsoft.com/office/drawing/2014/main" id="{24DAA9D1-9E0B-7F44-B1A9-BE7616476B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05369" y="6356350"/>
            <a:ext cx="8424964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20" name="Slide Number Placeholder 12">
            <a:extLst>
              <a:ext uri="{FF2B5EF4-FFF2-40B4-BE49-F238E27FC236}">
                <a16:creationId xmlns:a16="http://schemas.microsoft.com/office/drawing/2014/main" id="{7DC06177-A6C8-2B44-886F-E0F20D780B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88488" y="6367633"/>
            <a:ext cx="865312" cy="365125"/>
          </a:xfrm>
        </p:spPr>
        <p:txBody>
          <a:bodyPr/>
          <a:lstStyle/>
          <a:p>
            <a:fld id="{4D724308-14A4-A044-8A28-3E29BDDFE2A9}" type="slidenum">
              <a:rPr lang="en-GB" smtClean="0"/>
              <a:pPr/>
              <a:t>‹N°›</a:t>
            </a:fld>
            <a:endParaRPr lang="en-GB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5C41D65-ED8A-C842-874B-D49BB2F76C00}"/>
              </a:ext>
            </a:extLst>
          </p:cNvPr>
          <p:cNvCxnSpPr>
            <a:cxnSpLocks/>
          </p:cNvCxnSpPr>
          <p:nvPr/>
        </p:nvCxnSpPr>
        <p:spPr>
          <a:xfrm>
            <a:off x="838200" y="6260384"/>
            <a:ext cx="10515600" cy="0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1">
            <a:extLst>
              <a:ext uri="{FF2B5EF4-FFF2-40B4-BE49-F238E27FC236}">
                <a16:creationId xmlns:a16="http://schemas.microsoft.com/office/drawing/2014/main" id="{EDDC6FB4-7A95-7E42-A36F-E100D786A2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6356349"/>
            <a:ext cx="865312" cy="376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09451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51D2BA18-8F7E-144A-AD2F-675065772844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7365932" y="0"/>
            <a:ext cx="6245112" cy="6858000"/>
          </a:xfrm>
          <a:prstGeom prst="rect">
            <a:avLst/>
          </a:prstGeom>
          <a:noFill/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C9B60448-B486-7A47-833F-803EB47BC3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en-GB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A5383CA-7038-EC48-B470-BAA16C579F47}"/>
              </a:ext>
            </a:extLst>
          </p:cNvPr>
          <p:cNvCxnSpPr>
            <a:cxnSpLocks/>
          </p:cNvCxnSpPr>
          <p:nvPr/>
        </p:nvCxnSpPr>
        <p:spPr>
          <a:xfrm>
            <a:off x="10359416" y="6356350"/>
            <a:ext cx="0" cy="365125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1">
            <a:extLst>
              <a:ext uri="{FF2B5EF4-FFF2-40B4-BE49-F238E27FC236}">
                <a16:creationId xmlns:a16="http://schemas.microsoft.com/office/drawing/2014/main" id="{3B3E9DC3-F3E8-4643-9BD0-010F21E7A7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05369" y="6356350"/>
            <a:ext cx="8424964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16" name="Slide Number Placeholder 12">
            <a:extLst>
              <a:ext uri="{FF2B5EF4-FFF2-40B4-BE49-F238E27FC236}">
                <a16:creationId xmlns:a16="http://schemas.microsoft.com/office/drawing/2014/main" id="{50B3819E-A090-9A45-8F2D-92B112CB00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88488" y="6367633"/>
            <a:ext cx="865312" cy="365125"/>
          </a:xfrm>
        </p:spPr>
        <p:txBody>
          <a:bodyPr/>
          <a:lstStyle>
            <a:lvl1pPr>
              <a:defRPr/>
            </a:lvl1pPr>
          </a:lstStyle>
          <a:p>
            <a:fld id="{47196C0A-0A51-BA47-A0E3-BA72BB28E14F}" type="slidenum">
              <a:rPr lang="en-GB" smtClean="0"/>
              <a:pPr/>
              <a:t>‹N°›</a:t>
            </a:fld>
            <a:endParaRPr lang="en-GB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FBF2856-C3F7-7D41-BD23-51F0A27AEBE9}"/>
              </a:ext>
            </a:extLst>
          </p:cNvPr>
          <p:cNvCxnSpPr>
            <a:cxnSpLocks/>
          </p:cNvCxnSpPr>
          <p:nvPr/>
        </p:nvCxnSpPr>
        <p:spPr>
          <a:xfrm>
            <a:off x="838200" y="6260384"/>
            <a:ext cx="10515600" cy="0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0748D20C-4492-8B4A-AF29-1ECF85E1FE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6356349"/>
            <a:ext cx="865312" cy="376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73010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F71821-D3E2-4AD3-A16B-D977999DE163}" type="datetimeFigureOut">
              <a:rPr lang="fr-FR" smtClean="0"/>
              <a:t>01/02/202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CBF80E-7D64-48B9-AC2F-C551AC960EB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8523287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ABS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F9DEA0FF-1359-6C4F-B808-F341578050F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000"/>
          </a:blip>
          <a:stretch>
            <a:fillRect/>
          </a:stretch>
        </p:blipFill>
        <p:spPr>
          <a:xfrm>
            <a:off x="7365932" y="0"/>
            <a:ext cx="6245112" cy="6858000"/>
          </a:xfrm>
          <a:prstGeom prst="rect">
            <a:avLst/>
          </a:prstGeom>
          <a:noFill/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28A919A-0218-3A4D-928E-28C7D2EF7064}"/>
              </a:ext>
            </a:extLst>
          </p:cNvPr>
          <p:cNvCxnSpPr>
            <a:cxnSpLocks/>
          </p:cNvCxnSpPr>
          <p:nvPr/>
        </p:nvCxnSpPr>
        <p:spPr>
          <a:xfrm>
            <a:off x="10359416" y="6356350"/>
            <a:ext cx="0" cy="365125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11">
            <a:extLst>
              <a:ext uri="{FF2B5EF4-FFF2-40B4-BE49-F238E27FC236}">
                <a16:creationId xmlns:a16="http://schemas.microsoft.com/office/drawing/2014/main" id="{A20E918F-EF46-D94B-9AAF-2925D16869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05369" y="6356350"/>
            <a:ext cx="8424964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649C1E2F-302B-7646-90E7-178C05151A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88488" y="6367633"/>
            <a:ext cx="865312" cy="365125"/>
          </a:xfrm>
        </p:spPr>
        <p:txBody>
          <a:bodyPr/>
          <a:lstStyle/>
          <a:p>
            <a:fld id="{4D724308-14A4-A044-8A28-3E29BDDFE2A9}" type="slidenum">
              <a:rPr lang="en-GB" smtClean="0"/>
              <a:pPr/>
              <a:t>‹N°›</a:t>
            </a:fld>
            <a:endParaRPr lang="en-GB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20F5926-9FB0-A54D-98B3-247EA0E054D3}"/>
              </a:ext>
            </a:extLst>
          </p:cNvPr>
          <p:cNvCxnSpPr>
            <a:cxnSpLocks/>
          </p:cNvCxnSpPr>
          <p:nvPr/>
        </p:nvCxnSpPr>
        <p:spPr>
          <a:xfrm>
            <a:off x="838200" y="6260384"/>
            <a:ext cx="10515600" cy="0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A583597F-DC48-AA4F-8ACA-21976F93AA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6356349"/>
            <a:ext cx="865312" cy="376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985117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0" name="Diapositive think-cell" r:id="rId4" imgW="470" imgH="469" progId="TCLayout.ActiveDocument.1">
                  <p:embed/>
                </p:oleObj>
              </mc:Choice>
              <mc:Fallback>
                <p:oleObj name="Diapositive think-cell" r:id="rId4" imgW="470" imgH="46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2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 bwMode="auto">
          <a:xfrm>
            <a:off x="335362" y="60581"/>
            <a:ext cx="10335415" cy="907200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387748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F71821-D3E2-4AD3-A16B-D977999DE163}" type="datetimeFigureOut">
              <a:rPr lang="fr-FR" smtClean="0"/>
              <a:t>01/02/2022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CBF80E-7D64-48B9-AC2F-C551AC960EB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05346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F71821-D3E2-4AD3-A16B-D977999DE163}" type="datetimeFigureOut">
              <a:rPr lang="fr-FR" smtClean="0"/>
              <a:t>01/02/2022</a:t>
            </a:fld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CBF80E-7D64-48B9-AC2F-C551AC960EB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361587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F71821-D3E2-4AD3-A16B-D977999DE163}" type="datetimeFigureOut">
              <a:rPr lang="fr-FR" smtClean="0"/>
              <a:t>01/02/2022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CBF80E-7D64-48B9-AC2F-C551AC960EB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739563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F71821-D3E2-4AD3-A16B-D977999DE163}" type="datetimeFigureOut">
              <a:rPr lang="fr-FR" smtClean="0"/>
              <a:t>01/02/2022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CBF80E-7D64-48B9-AC2F-C551AC960EB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318604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F71821-D3E2-4AD3-A16B-D977999DE163}" type="datetimeFigureOut">
              <a:rPr lang="fr-FR" smtClean="0"/>
              <a:t>01/02/2022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CBF80E-7D64-48B9-AC2F-C551AC960EB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919125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 smtClean="0"/>
              <a:t>Cliquez sur l'icône pour ajouter une image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F71821-D3E2-4AD3-A16B-D977999DE163}" type="datetimeFigureOut">
              <a:rPr lang="fr-FR" smtClean="0"/>
              <a:t>01/02/2022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CBF80E-7D64-48B9-AC2F-C551AC960EB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332867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4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F71821-D3E2-4AD3-A16B-D977999DE163}" type="datetimeFigureOut">
              <a:rPr lang="fr-FR" smtClean="0"/>
              <a:t>01/02/202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CBF80E-7D64-48B9-AC2F-C551AC960EB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26831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ADF536F-31D1-EE46-A5BF-3F66A36EE9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F60FE8-5B05-5E4D-AB2A-75B31F8A75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37F5E7-2019-6E44-9684-1821E5267E3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129736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  <a:latin typeface="NEXT Pan Book" panose="020B0504020101010102" pitchFamily="34" charset="0"/>
                <a:cs typeface="NEXT Pan Book" panose="020B0504020101010102" pitchFamily="34" charset="0"/>
              </a:defRPr>
            </a:lvl1pPr>
          </a:lstStyle>
          <a:p>
            <a:r>
              <a:rPr lang="en-US"/>
              <a:t>7/6/20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5DB4E7-CFEC-5840-8C9B-CAE16C89FD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38638" y="6356350"/>
            <a:ext cx="69147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  <a:latin typeface="NEXT Pan Book" panose="020B0504020101010102" pitchFamily="34" charset="0"/>
                <a:cs typeface="NEXT Pan Book" panose="020B0504020101010102" pitchFamily="34" charset="0"/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24D6A0-BE3E-8447-866B-9581F84A38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88488" y="6356350"/>
            <a:ext cx="8653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1">
                <a:solidFill>
                  <a:schemeClr val="tx2"/>
                </a:solidFill>
                <a:latin typeface="NEXT Pan Book" panose="020B0504020101010102" pitchFamily="34" charset="0"/>
                <a:cs typeface="NEXT Pan Book" panose="020B0504020101010102" pitchFamily="34" charset="0"/>
              </a:defRPr>
            </a:lvl1pPr>
          </a:lstStyle>
          <a:p>
            <a:fld id="{4D724308-14A4-A044-8A28-3E29BDDFE2A9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85606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2"/>
          </a:solidFill>
          <a:latin typeface="NEXT Pan Book" panose="020B0504020101010102" pitchFamily="34" charset="0"/>
          <a:ea typeface="+mj-ea"/>
          <a:cs typeface="NEXT Pan Book" panose="020B0504020101010102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b="1" kern="1200">
          <a:solidFill>
            <a:schemeClr val="tx2"/>
          </a:solidFill>
          <a:latin typeface="NEXT Pan Book" panose="020B0504020101010102" pitchFamily="34" charset="0"/>
          <a:ea typeface="+mn-ea"/>
          <a:cs typeface="NEXT Pan Book" panose="020B0504020101010102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NEXT Pan Book" panose="020B0504020101010102" pitchFamily="34" charset="0"/>
          <a:ea typeface="+mn-ea"/>
          <a:cs typeface="NEXT Pan Book" panose="020B0504020101010102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stem Font Regular"/>
        <a:buChar char="-"/>
        <a:defRPr sz="1600" kern="1200">
          <a:solidFill>
            <a:schemeClr val="tx1"/>
          </a:solidFill>
          <a:latin typeface="NEXT Pan Book" panose="020B0504020101010102" pitchFamily="34" charset="0"/>
          <a:ea typeface="+mn-ea"/>
          <a:cs typeface="NEXT Pan Book" panose="020B0504020101010102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stem Font Regular"/>
        <a:buChar char="-"/>
        <a:defRPr sz="1400" kern="1200">
          <a:solidFill>
            <a:schemeClr val="tx1"/>
          </a:solidFill>
          <a:latin typeface="NEXT Pan Book" panose="020B0504020101010102" pitchFamily="34" charset="0"/>
          <a:ea typeface="+mn-ea"/>
          <a:cs typeface="NEXT Pan Book" panose="020B0504020101010102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stem Font Regular"/>
        <a:buChar char="-"/>
        <a:defRPr sz="1200" kern="1200">
          <a:solidFill>
            <a:schemeClr val="tx1"/>
          </a:solidFill>
          <a:latin typeface="NEXT Pan Book" panose="020B0504020101010102" pitchFamily="34" charset="0"/>
          <a:ea typeface="+mn-ea"/>
          <a:cs typeface="NEXT Pan Book" panose="020B0504020101010102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MA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17" Type="http://schemas.openxmlformats.org/officeDocument/2006/relationships/image" Target="../media/image35.png"/><Relationship Id="rId2" Type="http://schemas.openxmlformats.org/officeDocument/2006/relationships/image" Target="../media/image20.png"/><Relationship Id="rId16" Type="http://schemas.openxmlformats.org/officeDocument/2006/relationships/image" Target="../media/image34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4.png"/><Relationship Id="rId11" Type="http://schemas.openxmlformats.org/officeDocument/2006/relationships/image" Target="../media/image29.png"/><Relationship Id="rId5" Type="http://schemas.openxmlformats.org/officeDocument/2006/relationships/image" Target="../media/image23.png"/><Relationship Id="rId15" Type="http://schemas.openxmlformats.org/officeDocument/2006/relationships/image" Target="../media/image33.png"/><Relationship Id="rId10" Type="http://schemas.openxmlformats.org/officeDocument/2006/relationships/image" Target="../media/image28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Relationship Id="rId14" Type="http://schemas.openxmlformats.org/officeDocument/2006/relationships/image" Target="../media/image32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3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Project : Optimization II</a:t>
            </a:r>
            <a:endParaRPr lang="en-US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 smtClean="0"/>
              <a:t>Groupe 2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</p:nvPr>
        </p:nvSpPr>
        <p:spPr/>
        <p:txBody>
          <a:bodyPr>
            <a:normAutofit fontScale="92500"/>
          </a:bodyPr>
          <a:lstStyle/>
          <a:p>
            <a:r>
              <a:rPr lang="fr-FR" dirty="0" smtClean="0"/>
              <a:t>Chaimaa MEMSOUK, Hamza ABDELLAOUI &amp; Hamza EL KASSIMI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442915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/>
        </p:nvSpPr>
        <p:spPr>
          <a:xfrm>
            <a:off x="2143066" y="4327578"/>
            <a:ext cx="9114215" cy="951879"/>
          </a:xfrm>
          <a:prstGeom prst="rect">
            <a:avLst/>
          </a:prstGeom>
          <a:solidFill>
            <a:srgbClr val="F3F2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46" name="Rectangle 45"/>
          <p:cNvSpPr/>
          <p:nvPr/>
        </p:nvSpPr>
        <p:spPr>
          <a:xfrm>
            <a:off x="2143066" y="3152035"/>
            <a:ext cx="4201477" cy="1086995"/>
          </a:xfrm>
          <a:prstGeom prst="rect">
            <a:avLst/>
          </a:prstGeom>
          <a:solidFill>
            <a:srgbClr val="F3F2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47" name="Rectangle 46"/>
          <p:cNvSpPr/>
          <p:nvPr/>
        </p:nvSpPr>
        <p:spPr>
          <a:xfrm>
            <a:off x="6429603" y="3152035"/>
            <a:ext cx="4827678" cy="1086995"/>
          </a:xfrm>
          <a:prstGeom prst="rect">
            <a:avLst/>
          </a:prstGeom>
          <a:solidFill>
            <a:srgbClr val="F3F2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724308-14A4-A044-8A28-3E29BDDFE2A9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Mine Scheduling</a:t>
            </a:r>
            <a:endParaRPr lang="en-US" sz="2800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b="0" i="1" dirty="0" smtClean="0"/>
              <a:t>Problem presentation</a:t>
            </a:r>
            <a:endParaRPr lang="en-US" b="0" i="1" dirty="0"/>
          </a:p>
        </p:txBody>
      </p:sp>
      <p:sp>
        <p:nvSpPr>
          <p:cNvPr id="7" name="Rectangle 6"/>
          <p:cNvSpPr/>
          <p:nvPr/>
        </p:nvSpPr>
        <p:spPr>
          <a:xfrm>
            <a:off x="2143066" y="1871241"/>
            <a:ext cx="4201477" cy="1213188"/>
          </a:xfrm>
          <a:prstGeom prst="rect">
            <a:avLst/>
          </a:prstGeom>
          <a:solidFill>
            <a:srgbClr val="F3F2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ZoneTexte 9"/>
              <p:cNvSpPr txBox="1"/>
              <p:nvPr/>
            </p:nvSpPr>
            <p:spPr>
              <a:xfrm>
                <a:off x="2173526" y="1970795"/>
                <a:ext cx="2528000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160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𝑖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𝑠𝑂𝑣𝑒𝑟𝑉𝑎𝑟</m:t>
                      </m:r>
                      <m:d>
                        <m:dPr>
                          <m:begChr m:val="["/>
                          <m:endChr m:val="]"/>
                          <m:ctrlP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fr-FR" sz="16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𝑣𝐽𝑜𝑏</m:t>
                          </m:r>
                        </m:e>
                      </m:d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𝑖𝑛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{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𝑂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1}</m:t>
                      </m:r>
                    </m:oMath>
                  </m:oMathPara>
                </a14:m>
                <a:endParaRPr lang="en-US" sz="1600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10" name="ZoneTexte 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73526" y="1970795"/>
                <a:ext cx="2528000" cy="338554"/>
              </a:xfrm>
              <a:prstGeom prst="rect">
                <a:avLst/>
              </a:prstGeom>
              <a:blipFill>
                <a:blip r:embed="rId2"/>
                <a:stretch>
                  <a:fillRect b="-1071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8" name="Rectangle 27"/>
          <p:cNvSpPr/>
          <p:nvPr/>
        </p:nvSpPr>
        <p:spPr>
          <a:xfrm>
            <a:off x="6429603" y="1871241"/>
            <a:ext cx="4827678" cy="1213188"/>
          </a:xfrm>
          <a:prstGeom prst="rect">
            <a:avLst/>
          </a:prstGeom>
          <a:solidFill>
            <a:srgbClr val="F3F2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0" name="ZoneTexte 39"/>
              <p:cNvSpPr txBox="1"/>
              <p:nvPr/>
            </p:nvSpPr>
            <p:spPr>
              <a:xfrm>
                <a:off x="2173526" y="2316542"/>
                <a:ext cx="3815532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𝑠𝑡𝑎𝑟𝑡𝑉𝑎𝑟</m:t>
                      </m:r>
                      <m:d>
                        <m:dPr>
                          <m:begChr m:val="["/>
                          <m:endChr m:val="]"/>
                          <m:ctrlP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𝑣𝐽𝑜𝑏</m:t>
                          </m:r>
                        </m:e>
                      </m:d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𝑖𝑛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[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𝑂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h𝑜𝑟𝑖𝑧𝑜𝑛𝐷𝑢𝑟𝑎𝑡𝑖𝑜𝑛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]</m:t>
                      </m:r>
                    </m:oMath>
                  </m:oMathPara>
                </a14:m>
                <a:endParaRPr lang="en-US" sz="1600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40" name="ZoneTexte 3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73526" y="2316542"/>
                <a:ext cx="3815532" cy="338554"/>
              </a:xfrm>
              <a:prstGeom prst="rect">
                <a:avLst/>
              </a:prstGeom>
              <a:blipFill>
                <a:blip r:embed="rId3"/>
                <a:stretch>
                  <a:fillRect b="-1071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1" name="ZoneTexte 40"/>
              <p:cNvSpPr txBox="1"/>
              <p:nvPr/>
            </p:nvSpPr>
            <p:spPr>
              <a:xfrm>
                <a:off x="2137040" y="2660063"/>
                <a:ext cx="3891193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𝑎𝑙𝑙𝑜𝑐𝑎𝑡𝑖𝑜𝑛𝑉𝑎𝑟</m:t>
                      </m:r>
                      <m:d>
                        <m:dPr>
                          <m:begChr m:val="["/>
                          <m:endChr m:val="]"/>
                          <m:ctrlP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𝑣𝐽𝑜𝑏</m:t>
                          </m:r>
                        </m:e>
                      </m:d>
                      <m:d>
                        <m:dPr>
                          <m:begChr m:val="["/>
                          <m:endChr m:val="]"/>
                          <m:ctrlP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𝑣𝑀𝑎𝑐h𝑖𝑛𝑒</m:t>
                          </m:r>
                        </m:e>
                      </m:d>
                      <m:r>
                        <a:rPr lang="fr-FR" sz="1600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𝑖𝑛</m:t>
                      </m:r>
                      <m:r>
                        <a:rPr lang="fr-FR" sz="1600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{</m:t>
                      </m:r>
                      <m:r>
                        <a:rPr lang="fr-FR" sz="1600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𝑂</m:t>
                      </m:r>
                      <m:r>
                        <a:rPr lang="fr-FR" sz="1600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1}</m:t>
                      </m:r>
                    </m:oMath>
                  </m:oMathPara>
                </a14:m>
                <a:endParaRPr lang="en-US" sz="1600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41" name="ZoneTexte 4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37040" y="2660063"/>
                <a:ext cx="3891193" cy="338554"/>
              </a:xfrm>
              <a:prstGeom prst="rect">
                <a:avLst/>
              </a:prstGeom>
              <a:blipFill>
                <a:blip r:embed="rId4"/>
                <a:stretch>
                  <a:fillRect b="-1071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2" name="ZoneTexte 41"/>
              <p:cNvSpPr txBox="1"/>
              <p:nvPr/>
            </p:nvSpPr>
            <p:spPr>
              <a:xfrm>
                <a:off x="2173526" y="3600260"/>
                <a:ext cx="3244093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𝑖𝑠𝐹𝑖𝑟𝑠𝑡</m:t>
                      </m:r>
                      <m:d>
                        <m:dPr>
                          <m:begChr m:val="["/>
                          <m:endChr m:val="]"/>
                          <m:ctrlP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𝑣𝐽𝑜𝑏</m:t>
                          </m:r>
                        </m:e>
                      </m:d>
                      <m:d>
                        <m:dPr>
                          <m:begChr m:val="["/>
                          <m:endChr m:val="]"/>
                          <m:ctrlP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𝑣𝑀𝑎𝑐h𝑖𝑛𝑒</m:t>
                          </m:r>
                        </m:e>
                      </m:d>
                      <m:r>
                        <a:rPr lang="fr-FR" sz="1600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𝑖𝑛</m:t>
                      </m:r>
                      <m:r>
                        <a:rPr lang="fr-FR" sz="1600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{</m:t>
                      </m:r>
                      <m:r>
                        <a:rPr lang="fr-FR" sz="1600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𝑂</m:t>
                      </m:r>
                      <m:r>
                        <a:rPr lang="fr-FR" sz="1600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1}</m:t>
                      </m:r>
                    </m:oMath>
                  </m:oMathPara>
                </a14:m>
                <a:endParaRPr lang="en-US" sz="1600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42" name="ZoneTexte 4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73526" y="3600260"/>
                <a:ext cx="3244093" cy="338554"/>
              </a:xfrm>
              <a:prstGeom prst="rect">
                <a:avLst/>
              </a:prstGeom>
              <a:blipFill>
                <a:blip r:embed="rId5"/>
                <a:stretch>
                  <a:fillRect b="-1272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3" name="ZoneTexte 42"/>
              <p:cNvSpPr txBox="1"/>
              <p:nvPr/>
            </p:nvSpPr>
            <p:spPr>
              <a:xfrm>
                <a:off x="2173526" y="3250670"/>
                <a:ext cx="4085093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𝑖𝑠𝑆𝑢𝑐𝑐𝑒𝑠𝑠𝑜𝑟𝑉𝑎𝑟</m:t>
                      </m:r>
                      <m:d>
                        <m:dPr>
                          <m:begChr m:val="["/>
                          <m:endChr m:val="]"/>
                          <m:ctrlP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fr-FR" sz="16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𝑣𝑀𝑎𝑐h𝑖𝑛𝑒</m:t>
                          </m:r>
                        </m:e>
                      </m:d>
                      <m:d>
                        <m:dPr>
                          <m:begChr m:val="["/>
                          <m:endChr m:val="]"/>
                          <m:ctrlP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fr-FR" sz="1600" b="0" i="1" smtClean="0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r-FR" sz="1600" b="0" i="1" smtClean="0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𝑣𝐽𝑜𝑏</m:t>
                              </m:r>
                            </m:e>
                            <m:sub>
                              <m:r>
                                <a:rPr lang="fr-FR" sz="1600" b="0" i="1" smtClean="0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fr-FR" sz="1600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r-FR" sz="1600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𝑣𝐽𝑜𝑏</m:t>
                              </m:r>
                            </m:e>
                            <m:sub>
                              <m:r>
                                <a:rPr lang="fr-FR" sz="1600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en-US" sz="1600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43" name="ZoneTexte 4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73526" y="3250670"/>
                <a:ext cx="4085093" cy="338554"/>
              </a:xfrm>
              <a:prstGeom prst="rect">
                <a:avLst/>
              </a:prstGeom>
              <a:blipFill>
                <a:blip r:embed="rId6"/>
                <a:stretch>
                  <a:fillRect b="-1071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0" name="ZoneTexte 49"/>
              <p:cNvSpPr txBox="1"/>
              <p:nvPr/>
            </p:nvSpPr>
            <p:spPr>
              <a:xfrm>
                <a:off x="6533886" y="1970795"/>
                <a:ext cx="4116063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160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1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𝑠𝑖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𝑙𝑒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𝑗𝑜𝑏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𝑒𝑠𝑡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𝑡𝑒𝑟𝑚𝑖𝑛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é à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𝑙𝑎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𝑓𝑖𝑛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𝑑𝑒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sSup>
                        <m:sSupPr>
                          <m:ctrlP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𝑙</m:t>
                          </m:r>
                        </m:e>
                        <m:sup>
                          <m: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′</m:t>
                          </m:r>
                        </m:sup>
                      </m:sSup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h𝑜𝑟𝑖𝑧𝑜𝑛</m:t>
                      </m:r>
                    </m:oMath>
                  </m:oMathPara>
                </a14:m>
                <a:endParaRPr lang="en-US" sz="1600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50" name="ZoneTexte 4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33886" y="1970795"/>
                <a:ext cx="4116063" cy="338554"/>
              </a:xfrm>
              <a:prstGeom prst="rect">
                <a:avLst/>
              </a:prstGeom>
              <a:blipFill>
                <a:blip r:embed="rId7"/>
                <a:stretch>
                  <a:fillRect b="-1071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1" name="ZoneTexte 50"/>
              <p:cNvSpPr txBox="1"/>
              <p:nvPr/>
            </p:nvSpPr>
            <p:spPr>
              <a:xfrm>
                <a:off x="6533886" y="2660063"/>
                <a:ext cx="3531030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160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1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𝑠𝑖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𝑙𝑎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𝑚𝑎𝑐h𝑖𝑛𝑒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𝑚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𝑒𝑠𝑡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𝑎𝑙𝑙𝑜𝑢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é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𝑎𝑢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𝑗𝑜𝑏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𝑗</m:t>
                      </m:r>
                    </m:oMath>
                  </m:oMathPara>
                </a14:m>
                <a:endParaRPr lang="en-US" sz="1600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51" name="ZoneTexte 5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33886" y="2660063"/>
                <a:ext cx="3531030" cy="338554"/>
              </a:xfrm>
              <a:prstGeom prst="rect">
                <a:avLst/>
              </a:prstGeom>
              <a:blipFill>
                <a:blip r:embed="rId8"/>
                <a:stretch>
                  <a:fillRect b="-1071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2" name="Rectangle 51"/>
          <p:cNvSpPr/>
          <p:nvPr/>
        </p:nvSpPr>
        <p:spPr>
          <a:xfrm>
            <a:off x="683915" y="4327578"/>
            <a:ext cx="1358245" cy="951879"/>
          </a:xfrm>
          <a:prstGeom prst="rect">
            <a:avLst/>
          </a:prstGeom>
          <a:solidFill>
            <a:srgbClr val="F3F2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53" name="Rectangle 52"/>
          <p:cNvSpPr/>
          <p:nvPr/>
        </p:nvSpPr>
        <p:spPr>
          <a:xfrm>
            <a:off x="683915" y="3152035"/>
            <a:ext cx="1358245" cy="1086995"/>
          </a:xfrm>
          <a:prstGeom prst="rect">
            <a:avLst/>
          </a:prstGeom>
          <a:solidFill>
            <a:srgbClr val="F3F2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54" name="Rectangle 53"/>
          <p:cNvSpPr/>
          <p:nvPr/>
        </p:nvSpPr>
        <p:spPr>
          <a:xfrm>
            <a:off x="683915" y="1871241"/>
            <a:ext cx="1358245" cy="1213188"/>
          </a:xfrm>
          <a:prstGeom prst="rect">
            <a:avLst/>
          </a:prstGeom>
          <a:solidFill>
            <a:srgbClr val="F3F2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0" name="ZoneTexte 19"/>
          <p:cNvSpPr txBox="1"/>
          <p:nvPr/>
        </p:nvSpPr>
        <p:spPr>
          <a:xfrm>
            <a:off x="849915" y="2202689"/>
            <a:ext cx="102624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i="1" dirty="0" smtClean="0">
                <a:solidFill>
                  <a:schemeClr val="accent1"/>
                </a:solidFill>
              </a:rPr>
              <a:t>Decision </a:t>
            </a:r>
          </a:p>
          <a:p>
            <a:pPr algn="ctr"/>
            <a:r>
              <a:rPr lang="en-US" sz="1600" i="1" dirty="0" smtClean="0">
                <a:solidFill>
                  <a:schemeClr val="accent1"/>
                </a:solidFill>
              </a:rPr>
              <a:t>variables</a:t>
            </a:r>
            <a:endParaRPr lang="en-US" sz="1600" i="1" dirty="0">
              <a:solidFill>
                <a:schemeClr val="accent1"/>
              </a:solidFill>
            </a:endParaRPr>
          </a:p>
        </p:txBody>
      </p:sp>
      <p:sp>
        <p:nvSpPr>
          <p:cNvPr id="55" name="ZoneTexte 54"/>
          <p:cNvSpPr txBox="1"/>
          <p:nvPr/>
        </p:nvSpPr>
        <p:spPr>
          <a:xfrm>
            <a:off x="826561" y="3388329"/>
            <a:ext cx="119776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i="1" dirty="0" smtClean="0">
                <a:solidFill>
                  <a:schemeClr val="accent1"/>
                </a:solidFill>
              </a:rPr>
              <a:t>Simulation </a:t>
            </a:r>
          </a:p>
          <a:p>
            <a:pPr algn="ctr"/>
            <a:r>
              <a:rPr lang="en-US" sz="1600" i="1" dirty="0" smtClean="0">
                <a:solidFill>
                  <a:schemeClr val="accent1"/>
                </a:solidFill>
              </a:rPr>
              <a:t>variables</a:t>
            </a:r>
            <a:endParaRPr lang="en-US" sz="1600" i="1" dirty="0">
              <a:solidFill>
                <a:schemeClr val="accent1"/>
              </a:solidFill>
            </a:endParaRPr>
          </a:p>
        </p:txBody>
      </p:sp>
      <p:sp>
        <p:nvSpPr>
          <p:cNvPr id="56" name="ZoneTexte 55"/>
          <p:cNvSpPr txBox="1"/>
          <p:nvPr/>
        </p:nvSpPr>
        <p:spPr>
          <a:xfrm>
            <a:off x="912660" y="4481970"/>
            <a:ext cx="100380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i="1" dirty="0" smtClean="0">
                <a:solidFill>
                  <a:schemeClr val="accent1"/>
                </a:solidFill>
              </a:rPr>
              <a:t>State</a:t>
            </a:r>
          </a:p>
          <a:p>
            <a:pPr algn="ctr"/>
            <a:r>
              <a:rPr lang="en-US" sz="1600" i="1" dirty="0" smtClean="0">
                <a:solidFill>
                  <a:schemeClr val="accent1"/>
                </a:solidFill>
              </a:rPr>
              <a:t>variables</a:t>
            </a:r>
            <a:endParaRPr lang="en-US" sz="1600" i="1" dirty="0">
              <a:solidFill>
                <a:schemeClr val="accent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7" name="ZoneTexte 56"/>
              <p:cNvSpPr txBox="1"/>
              <p:nvPr/>
            </p:nvSpPr>
            <p:spPr>
              <a:xfrm>
                <a:off x="6533886" y="2316542"/>
                <a:ext cx="4116063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160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1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𝑠𝑖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𝑙𝑒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𝑗𝑜𝑏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𝑒𝑠𝑡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𝑡𝑒𝑟𝑚𝑖𝑛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é à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𝑙𝑎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𝑓𝑖𝑛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𝑑𝑒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sSup>
                        <m:sSupPr>
                          <m:ctrlP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𝑙</m:t>
                          </m:r>
                        </m:e>
                        <m:sup>
                          <m: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′</m:t>
                          </m:r>
                        </m:sup>
                      </m:sSup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h𝑜𝑟𝑖𝑧𝑜𝑛</m:t>
                      </m:r>
                    </m:oMath>
                  </m:oMathPara>
                </a14:m>
                <a:endParaRPr lang="en-US" sz="1600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57" name="ZoneTexte 5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33886" y="2316542"/>
                <a:ext cx="4116063" cy="338554"/>
              </a:xfrm>
              <a:prstGeom prst="rect">
                <a:avLst/>
              </a:prstGeom>
              <a:blipFill>
                <a:blip r:embed="rId9"/>
                <a:stretch>
                  <a:fillRect b="-1071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8" name="ZoneTexte 57"/>
              <p:cNvSpPr txBox="1"/>
              <p:nvPr/>
            </p:nvSpPr>
            <p:spPr>
              <a:xfrm>
                <a:off x="6533886" y="3250670"/>
                <a:ext cx="4151586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160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1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𝑠𝑖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sSub>
                        <m:sSubPr>
                          <m:ctrlPr>
                            <a:rPr lang="fr-FR" sz="16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sz="16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𝑣𝐽𝑜𝑏</m:t>
                          </m:r>
                        </m:e>
                        <m:sub>
                          <m: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𝑒𝑠𝑡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𝑙𝑒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𝑠𝑢𝑐𝑐𝑒𝑠𝑠𝑒𝑢𝑟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𝑑𝑖𝑟𝑒𝑐𝑡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𝑑𝑢</m:t>
                      </m:r>
                      <m:sSub>
                        <m:sSubPr>
                          <m:ctrlPr>
                            <a:rPr lang="fr-FR" sz="16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 </m:t>
                          </m:r>
                          <m:r>
                            <a:rPr lang="fr-FR" sz="16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𝑣𝐽𝑜𝑏</m:t>
                          </m:r>
                        </m:e>
                        <m:sub>
                          <m:r>
                            <a:rPr lang="fr-FR" sz="16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sz="1600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58" name="ZoneTexte 5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33886" y="3250670"/>
                <a:ext cx="4151586" cy="338554"/>
              </a:xfrm>
              <a:prstGeom prst="rect">
                <a:avLst/>
              </a:prstGeom>
              <a:blipFill>
                <a:blip r:embed="rId10"/>
                <a:stretch>
                  <a:fillRect b="-1071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9" name="ZoneTexte 58"/>
              <p:cNvSpPr txBox="1"/>
              <p:nvPr/>
            </p:nvSpPr>
            <p:spPr>
              <a:xfrm>
                <a:off x="6533886" y="3600260"/>
                <a:ext cx="3890937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160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1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𝑠𝑖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𝑙𝑒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𝑗𝑜𝑏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𝑒𝑠𝑡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𝑙𝑒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𝑝𝑟𝑒𝑚𝑖𝑒𝑟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𝑠𝑢𝑟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𝑣𝑀𝑎𝑐h𝑖𝑛𝑒</m:t>
                      </m:r>
                    </m:oMath>
                  </m:oMathPara>
                </a14:m>
                <a:endParaRPr lang="en-US" sz="1600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59" name="ZoneTexte 5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33886" y="3600260"/>
                <a:ext cx="3890937" cy="338554"/>
              </a:xfrm>
              <a:prstGeom prst="rect">
                <a:avLst/>
              </a:prstGeom>
              <a:blipFill>
                <a:blip r:embed="rId11"/>
                <a:stretch>
                  <a:fillRect b="-1272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0" name="ZoneTexte 59"/>
              <p:cNvSpPr txBox="1"/>
              <p:nvPr/>
            </p:nvSpPr>
            <p:spPr>
              <a:xfrm>
                <a:off x="2560726" y="4462812"/>
                <a:ext cx="1141338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𝑣𝑀𝑎𝑐h𝑖𝑛𝑒</m:t>
                      </m:r>
                    </m:oMath>
                  </m:oMathPara>
                </a14:m>
                <a:endParaRPr lang="en-US" sz="1600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60" name="ZoneTexte 5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60726" y="4462812"/>
                <a:ext cx="1141338" cy="338554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1" name="ZoneTexte 60"/>
              <p:cNvSpPr txBox="1"/>
              <p:nvPr/>
            </p:nvSpPr>
            <p:spPr>
              <a:xfrm>
                <a:off x="2560726" y="4805360"/>
                <a:ext cx="1356204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fr-FR" sz="160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sz="16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𝑣𝐽𝑜𝑏</m:t>
                          </m:r>
                        </m:e>
                        <m:sub>
                          <m: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</m:t>
                      </m:r>
                      <m:sSub>
                        <m:sSubPr>
                          <m:ctrlPr>
                            <a:rPr lang="fr-FR" sz="16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sz="16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𝑣𝐽𝑜𝑏</m:t>
                          </m:r>
                        </m:e>
                        <m:sub>
                          <m:r>
                            <a:rPr lang="fr-FR" sz="1600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sz="1600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61" name="ZoneTexte 6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60726" y="4805360"/>
                <a:ext cx="1356204" cy="338554"/>
              </a:xfrm>
              <a:prstGeom prst="rect">
                <a:avLst/>
              </a:prstGeom>
              <a:blipFill>
                <a:blip r:embed="rId13"/>
                <a:stretch>
                  <a:fillRect b="-1071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2" name="ZoneTexte 61"/>
              <p:cNvSpPr txBox="1"/>
              <p:nvPr/>
            </p:nvSpPr>
            <p:spPr>
              <a:xfrm>
                <a:off x="4106502" y="4462812"/>
                <a:ext cx="768287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𝑗𝑃𝑟𝑒𝑑</m:t>
                      </m:r>
                    </m:oMath>
                  </m:oMathPara>
                </a14:m>
                <a:endParaRPr lang="en-US" sz="1600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62" name="ZoneTexte 6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06502" y="4462812"/>
                <a:ext cx="768287" cy="338554"/>
              </a:xfrm>
              <a:prstGeom prst="rect">
                <a:avLst/>
              </a:prstGeom>
              <a:blipFill>
                <a:blip r:embed="rId14"/>
                <a:stretch>
                  <a:fillRect b="-1071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3" name="ZoneTexte 62"/>
              <p:cNvSpPr txBox="1"/>
              <p:nvPr/>
            </p:nvSpPr>
            <p:spPr>
              <a:xfrm>
                <a:off x="4036456" y="4805360"/>
                <a:ext cx="1493999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𝑠𝑤𝑖𝑡𝑐h𝑖𝑛𝑇𝑖𝑚𝑒</m:t>
                      </m:r>
                    </m:oMath>
                  </m:oMathPara>
                </a14:m>
                <a:endParaRPr lang="en-US" sz="1600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63" name="ZoneTexte 6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36456" y="4805360"/>
                <a:ext cx="1493999" cy="338554"/>
              </a:xfrm>
              <a:prstGeom prst="rect">
                <a:avLst/>
              </a:prstGeom>
              <a:blipFill>
                <a:blip r:embed="rId1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4" name="ZoneTexte 63"/>
              <p:cNvSpPr txBox="1"/>
              <p:nvPr/>
            </p:nvSpPr>
            <p:spPr>
              <a:xfrm>
                <a:off x="5663107" y="4462812"/>
                <a:ext cx="1802416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h𝑜𝑟𝑖𝑧𝑜𝑛𝐷𝑢𝑟𝑎𝑡𝑖𝑜𝑛</m:t>
                      </m:r>
                    </m:oMath>
                  </m:oMathPara>
                </a14:m>
                <a:endParaRPr lang="en-US" sz="1600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64" name="ZoneTexte 6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63107" y="4462812"/>
                <a:ext cx="1802416" cy="338554"/>
              </a:xfrm>
              <a:prstGeom prst="rect">
                <a:avLst/>
              </a:prstGeom>
              <a:blipFill>
                <a:blip r:embed="rId1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5" name="ZoneTexte 64"/>
              <p:cNvSpPr txBox="1"/>
              <p:nvPr/>
            </p:nvSpPr>
            <p:spPr>
              <a:xfrm>
                <a:off x="5663107" y="4805360"/>
                <a:ext cx="1066639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𝑑𝑢𝑟𝑎𝑡𝑖𝑜𝑛</m:t>
                      </m:r>
                    </m:oMath>
                  </m:oMathPara>
                </a14:m>
                <a:endParaRPr lang="en-US" sz="1600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65" name="ZoneTexte 6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63107" y="4805360"/>
                <a:ext cx="1066639" cy="338554"/>
              </a:xfrm>
              <a:prstGeom prst="rect">
                <a:avLst/>
              </a:prstGeom>
              <a:blipFill>
                <a:blip r:embed="rId1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2537080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724308-14A4-A044-8A28-3E29BDDFE2A9}" type="slidenum">
              <a:rPr lang="en-GB" smtClean="0"/>
              <a:pPr/>
              <a:t>3</a:t>
            </a:fld>
            <a:endParaRPr lang="en-GB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Mine Scheduling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b="0" i="1" dirty="0"/>
              <a:t>Problem presentation</a:t>
            </a:r>
          </a:p>
        </p:txBody>
      </p:sp>
      <p:sp>
        <p:nvSpPr>
          <p:cNvPr id="7" name="Rectangle 6"/>
          <p:cNvSpPr/>
          <p:nvPr/>
        </p:nvSpPr>
        <p:spPr>
          <a:xfrm>
            <a:off x="1434579" y="1746857"/>
            <a:ext cx="9380565" cy="2517135"/>
          </a:xfrm>
          <a:prstGeom prst="rect">
            <a:avLst/>
          </a:prstGeom>
          <a:solidFill>
            <a:srgbClr val="F3F2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0" name="ZoneTexte 19"/>
          <p:cNvSpPr txBox="1"/>
          <p:nvPr/>
        </p:nvSpPr>
        <p:spPr>
          <a:xfrm>
            <a:off x="3852291" y="1894618"/>
            <a:ext cx="493917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/>
              <a:t>Objective: Maximize production on the given horizon</a:t>
            </a:r>
            <a:endParaRPr lang="en-US" sz="16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4" name="ZoneTexte 23"/>
              <p:cNvSpPr txBox="1"/>
              <p:nvPr/>
            </p:nvSpPr>
            <p:spPr>
              <a:xfrm>
                <a:off x="1727778" y="2509287"/>
                <a:ext cx="8593381" cy="1057991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US" sz="1600" i="1" dirty="0" smtClean="0">
                    <a:solidFill>
                      <a:schemeClr val="accent1"/>
                    </a:solidFill>
                  </a:rPr>
                  <a:t>Objective function: </a:t>
                </a:r>
              </a:p>
              <a:p>
                <a:pPr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𝑂𝑏𝑗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fr-FR" sz="1600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𝑀𝑎𝑥</m:t>
                      </m:r>
                      <m:nary>
                        <m:naryPr>
                          <m:chr m:val="∑"/>
                          <m:supHide m:val="on"/>
                          <m:ctrlP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7"/>
                            </m:rP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𝑗</m:t>
                          </m:r>
                        </m:sub>
                        <m:sup/>
                        <m:e>
                          <m: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𝑖𝑠𝑂𝑣𝑒𝑟𝑉𝑎𝑟</m:t>
                          </m:r>
                          <m:d>
                            <m:dPr>
                              <m:begChr m:val="["/>
                              <m:endChr m:val="]"/>
                              <m:ctrlPr>
                                <a:rPr lang="fr-FR" sz="1600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fr-FR" sz="1600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</m:e>
                          </m:d>
                          <m: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 </m:t>
                          </m:r>
                          <m: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  </m:t>
                          </m:r>
                          <m: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𝑃𝑟𝑜𝑑𝑢𝑐𝑡𝑖𝑜𝑛</m:t>
                          </m:r>
                          <m: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 [</m:t>
                          </m:r>
                          <m: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fr-FR" sz="16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]</m:t>
                          </m:r>
                        </m:e>
                      </m:nary>
                    </m:oMath>
                  </m:oMathPara>
                </a14:m>
                <a:endParaRPr lang="en-US" sz="1600" dirty="0" smtClean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24" name="ZoneTexte 2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27778" y="2509287"/>
                <a:ext cx="8593381" cy="1057991"/>
              </a:xfrm>
              <a:prstGeom prst="rect">
                <a:avLst/>
              </a:prstGeom>
              <a:blipFill>
                <a:blip r:embed="rId2"/>
                <a:stretch>
                  <a:fillRect l="-355" t="-173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ZoneTexte 10"/>
          <p:cNvSpPr txBox="1"/>
          <p:nvPr/>
        </p:nvSpPr>
        <p:spPr>
          <a:xfrm>
            <a:off x="1727778" y="3683183"/>
            <a:ext cx="610295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 smtClean="0"/>
              <a:t>Considering only the tasks that are totally finished at the end of the horizon</a:t>
            </a:r>
            <a:endParaRPr lang="en-US" sz="1400" i="1" dirty="0"/>
          </a:p>
        </p:txBody>
      </p:sp>
    </p:spTree>
    <p:extLst>
      <p:ext uri="{BB962C8B-B14F-4D97-AF65-F5344CB8AC3E}">
        <p14:creationId xmlns:p14="http://schemas.microsoft.com/office/powerpoint/2010/main" val="3792443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724308-14A4-A044-8A28-3E29BDDFE2A9}" type="slidenum">
              <a:rPr lang="en-GB" smtClean="0"/>
              <a:pPr/>
              <a:t>4</a:t>
            </a:fld>
            <a:endParaRPr lang="en-GB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Mine Scheduling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b="0" i="1" dirty="0" smtClean="0"/>
              <a:t>Results</a:t>
            </a:r>
            <a:endParaRPr lang="en-US" b="0" i="1" dirty="0"/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443" y="2170637"/>
            <a:ext cx="3691711" cy="3004120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 rotWithShape="1">
          <a:blip r:embed="rId3"/>
          <a:srcRect r="51735" b="53319"/>
          <a:stretch/>
        </p:blipFill>
        <p:spPr>
          <a:xfrm>
            <a:off x="9211712" y="704846"/>
            <a:ext cx="2180821" cy="1719492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71973" y="2538990"/>
            <a:ext cx="2472055" cy="2635767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 rotWithShape="1">
          <a:blip r:embed="rId3"/>
          <a:srcRect t="46413"/>
          <a:stretch/>
        </p:blipFill>
        <p:spPr>
          <a:xfrm>
            <a:off x="4457704" y="2685761"/>
            <a:ext cx="4518457" cy="1973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23129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724308-14A4-A044-8A28-3E29BDDFE2A9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Mine Scheduling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b="0" i="1" dirty="0" smtClean="0"/>
              <a:t>Gantt</a:t>
            </a:r>
            <a:endParaRPr lang="en-US" b="0" i="1" dirty="0"/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 rotWithShape="1">
          <a:blip r:embed="rId2"/>
          <a:srcRect l="55389" t="29175" r="951" b="11778"/>
          <a:stretch/>
        </p:blipFill>
        <p:spPr>
          <a:xfrm>
            <a:off x="291874" y="1533256"/>
            <a:ext cx="11469686" cy="4362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0978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724308-14A4-A044-8A28-3E29BDDFE2A9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3 key learnings of the module</a:t>
            </a:r>
            <a:endParaRPr lang="en-US" sz="2800" dirty="0"/>
          </a:p>
        </p:txBody>
      </p:sp>
      <p:sp>
        <p:nvSpPr>
          <p:cNvPr id="7" name="Rectangle 6"/>
          <p:cNvSpPr/>
          <p:nvPr/>
        </p:nvSpPr>
        <p:spPr>
          <a:xfrm>
            <a:off x="1434579" y="1482697"/>
            <a:ext cx="9380565" cy="1312421"/>
          </a:xfrm>
          <a:prstGeom prst="rect">
            <a:avLst/>
          </a:prstGeom>
          <a:solidFill>
            <a:srgbClr val="F3F2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4" name="ZoneTexte 23"/>
          <p:cNvSpPr txBox="1"/>
          <p:nvPr/>
        </p:nvSpPr>
        <p:spPr>
          <a:xfrm>
            <a:off x="1626178" y="1696487"/>
            <a:ext cx="8593381" cy="105799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600" i="1" dirty="0" smtClean="0">
                <a:solidFill>
                  <a:schemeClr val="accent1"/>
                </a:solidFill>
              </a:rPr>
              <a:t>Leaning 1:</a:t>
            </a:r>
          </a:p>
          <a:p>
            <a:pPr marL="452438" indent="-269875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600" i="1" dirty="0" smtClean="0">
                <a:solidFill>
                  <a:schemeClr val="accent1"/>
                </a:solidFill>
              </a:rPr>
              <a:t> </a:t>
            </a:r>
            <a:r>
              <a:rPr lang="fr-FR" sz="1600" dirty="0" smtClean="0"/>
              <a:t>Le grand nombre de méthodes de résolution des problèmes de scheduling </a:t>
            </a:r>
            <a:endParaRPr lang="fr-FR" sz="1600" dirty="0" smtClean="0">
              <a:solidFill>
                <a:schemeClr val="accent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434579" y="2900478"/>
            <a:ext cx="9380565" cy="1312421"/>
          </a:xfrm>
          <a:prstGeom prst="rect">
            <a:avLst/>
          </a:prstGeom>
          <a:solidFill>
            <a:srgbClr val="F3F2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2" name="ZoneTexte 11"/>
          <p:cNvSpPr txBox="1"/>
          <p:nvPr/>
        </p:nvSpPr>
        <p:spPr>
          <a:xfrm>
            <a:off x="1626178" y="3114268"/>
            <a:ext cx="8593381" cy="105799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600" i="1" dirty="0" smtClean="0">
                <a:solidFill>
                  <a:schemeClr val="accent1"/>
                </a:solidFill>
              </a:rPr>
              <a:t>Leaning 2:</a:t>
            </a:r>
          </a:p>
          <a:p>
            <a:pPr marL="452438" lvl="0" indent="-269875">
              <a:spcAft>
                <a:spcPts val="600"/>
              </a:spcAft>
              <a:buClr>
                <a:srgbClr val="281A7F"/>
              </a:buClr>
              <a:buFont typeface="Wingdings" panose="05000000000000000000" pitchFamily="2" charset="2"/>
              <a:buChar char="§"/>
            </a:pPr>
            <a:r>
              <a:rPr lang="fr-FR" sz="1600" dirty="0" smtClean="0">
                <a:solidFill>
                  <a:srgbClr val="000000"/>
                </a:solidFill>
              </a:rPr>
              <a:t>La possibilité de voir la plupart des problèmes d’optimisation en tant que problèmes classiques notamment les problèmes de sac-à-dos</a:t>
            </a:r>
            <a:endParaRPr lang="fr-FR" sz="1600" dirty="0">
              <a:solidFill>
                <a:srgbClr val="E2562A"/>
              </a:solidFill>
            </a:endParaRPr>
          </a:p>
          <a:p>
            <a:pPr>
              <a:spcAft>
                <a:spcPts val="600"/>
              </a:spcAft>
            </a:pPr>
            <a:r>
              <a:rPr lang="en-US" sz="1600" i="1" dirty="0" smtClean="0">
                <a:solidFill>
                  <a:schemeClr val="accent1"/>
                </a:solidFill>
              </a:rPr>
              <a:t> 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434579" y="4318259"/>
            <a:ext cx="9380565" cy="1312421"/>
          </a:xfrm>
          <a:prstGeom prst="rect">
            <a:avLst/>
          </a:prstGeom>
          <a:solidFill>
            <a:srgbClr val="F3F2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4" name="ZoneTexte 13"/>
          <p:cNvSpPr txBox="1"/>
          <p:nvPr/>
        </p:nvSpPr>
        <p:spPr>
          <a:xfrm>
            <a:off x="1626178" y="4532049"/>
            <a:ext cx="8593381" cy="105799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600" i="1" dirty="0" smtClean="0">
                <a:solidFill>
                  <a:schemeClr val="accent1"/>
                </a:solidFill>
              </a:rPr>
              <a:t>Leaning 3: </a:t>
            </a:r>
          </a:p>
        </p:txBody>
      </p:sp>
    </p:spTree>
    <p:extLst>
      <p:ext uri="{BB962C8B-B14F-4D97-AF65-F5344CB8AC3E}">
        <p14:creationId xmlns:p14="http://schemas.microsoft.com/office/powerpoint/2010/main" val="2701118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ème2" id="{4612B86D-0E85-4E55-A02E-15C8CF866BE9}" vid="{91A65DC3-9CE8-4723-A350-E9EECB3E5B73}"/>
    </a:ext>
  </a:extLst>
</a:theme>
</file>

<file path=ppt/theme/theme2.xml><?xml version="1.0" encoding="utf-8"?>
<a:theme xmlns:a="http://schemas.openxmlformats.org/drawingml/2006/main" name="ABS">
  <a:themeElements>
    <a:clrScheme name="Custom 6">
      <a:dk1>
        <a:srgbClr val="000000"/>
      </a:dk1>
      <a:lt1>
        <a:srgbClr val="FFFFFF"/>
      </a:lt1>
      <a:dk2>
        <a:srgbClr val="2A1980"/>
      </a:dk2>
      <a:lt2>
        <a:srgbClr val="E6B95A"/>
      </a:lt2>
      <a:accent1>
        <a:srgbClr val="E2562A"/>
      </a:accent1>
      <a:accent2>
        <a:srgbClr val="281A7F"/>
      </a:accent2>
      <a:accent3>
        <a:srgbClr val="E8B859"/>
      </a:accent3>
      <a:accent4>
        <a:srgbClr val="FFFFFF"/>
      </a:accent4>
      <a:accent5>
        <a:srgbClr val="FFFFFF"/>
      </a:accent5>
      <a:accent6>
        <a:srgbClr val="FFFFFF"/>
      </a:accent6>
      <a:hlink>
        <a:srgbClr val="0563C1"/>
      </a:hlink>
      <a:folHlink>
        <a:srgbClr val="954F72"/>
      </a:folHlink>
    </a:clrScheme>
    <a:fontScheme name="NEXT PAN BOOK">
      <a:majorFont>
        <a:latin typeface="NEXT Pan Book"/>
        <a:ea typeface=""/>
        <a:cs typeface=""/>
      </a:majorFont>
      <a:minorFont>
        <a:latin typeface="NEXT Pan Book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BS" id="{B8135184-1AD8-44CE-8E15-A0949540334F}" vid="{A87C5FCD-2787-41C4-97DA-A47D5DAD42E7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ème2</Template>
  <TotalTime>2842</TotalTime>
  <Words>178</Words>
  <Application>Microsoft Office PowerPoint</Application>
  <PresentationFormat>Grand écran</PresentationFormat>
  <Paragraphs>49</Paragraphs>
  <Slides>6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10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6</vt:i4>
      </vt:variant>
    </vt:vector>
  </HeadingPairs>
  <TitlesOfParts>
    <vt:vector size="19" baseType="lpstr">
      <vt:lpstr>Arial</vt:lpstr>
      <vt:lpstr>Calibri</vt:lpstr>
      <vt:lpstr>Calibri Light</vt:lpstr>
      <vt:lpstr>Cambria Math</vt:lpstr>
      <vt:lpstr>Century Gothic</vt:lpstr>
      <vt:lpstr>NEXT Pan Book</vt:lpstr>
      <vt:lpstr>NEXT Pan Book Light</vt:lpstr>
      <vt:lpstr>System Font Regular</vt:lpstr>
      <vt:lpstr>Trebuchet MS</vt:lpstr>
      <vt:lpstr>Wingdings</vt:lpstr>
      <vt:lpstr>Thème2</vt:lpstr>
      <vt:lpstr>ABS</vt:lpstr>
      <vt:lpstr>Diapositive think-cell</vt:lpstr>
      <vt:lpstr>Project : Optimization II</vt:lpstr>
      <vt:lpstr>Mine Scheduling</vt:lpstr>
      <vt:lpstr>Mine Scheduling</vt:lpstr>
      <vt:lpstr>Mine Scheduling</vt:lpstr>
      <vt:lpstr>Mine Scheduling</vt:lpstr>
      <vt:lpstr>3 key learnings of the module</vt:lpstr>
    </vt:vector>
  </TitlesOfParts>
  <Company>OC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</dc:title>
  <dc:creator>MEMSOUK Chaimaa</dc:creator>
  <cp:lastModifiedBy>MEMSOUK Chaimaa</cp:lastModifiedBy>
  <cp:revision>44</cp:revision>
  <dcterms:created xsi:type="dcterms:W3CDTF">2022-01-02T14:57:06Z</dcterms:created>
  <dcterms:modified xsi:type="dcterms:W3CDTF">2022-02-01T22:56:43Z</dcterms:modified>
</cp:coreProperties>
</file>